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4"/>
  </p:sldMasterIdLst>
  <p:notesMasterIdLst>
    <p:notesMasterId r:id="rId14"/>
  </p:notesMasterIdLst>
  <p:handoutMasterIdLst>
    <p:handoutMasterId r:id="rId15"/>
  </p:handoutMasterIdLst>
  <p:sldIdLst>
    <p:sldId id="263" r:id="rId5"/>
    <p:sldId id="360" r:id="rId6"/>
    <p:sldId id="353" r:id="rId7"/>
    <p:sldId id="342" r:id="rId8"/>
    <p:sldId id="359" r:id="rId9"/>
    <p:sldId id="361" r:id="rId10"/>
    <p:sldId id="362" r:id="rId11"/>
    <p:sldId id="363" r:id="rId12"/>
    <p:sldId id="364" r:id="rId13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890">
          <p15:clr>
            <a:srgbClr val="A4A3A4"/>
          </p15:clr>
        </p15:guide>
        <p15:guide id="3" pos="295">
          <p15:clr>
            <a:srgbClr val="A4A3A4"/>
          </p15:clr>
        </p15:guide>
        <p15:guide id="4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uhija Arben" initials="hkagk" lastIdx="1" clrIdx="0">
    <p:extLst>
      <p:ext uri="{19B8F6BF-5375-455C-9EA6-DF929625EA0E}">
        <p15:presenceInfo xmlns:p15="http://schemas.microsoft.com/office/powerpoint/2012/main" userId="Nuhija Arb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C4ED64-9471-468F-BDD6-6F36A353E568}" v="111" dt="2022-03-21T20:49:00.9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50" autoAdjust="0"/>
    <p:restoredTop sz="96816" autoAdjust="0"/>
  </p:normalViewPr>
  <p:slideViewPr>
    <p:cSldViewPr showGuides="1">
      <p:cViewPr>
        <p:scale>
          <a:sx n="200" d="100"/>
          <a:sy n="200" d="100"/>
        </p:scale>
        <p:origin x="141" y="-861"/>
      </p:cViewPr>
      <p:guideLst>
        <p:guide orient="horz" pos="849"/>
        <p:guide orient="horz" pos="2890"/>
        <p:guide pos="295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97" d="100"/>
          <a:sy n="97" d="100"/>
        </p:scale>
        <p:origin x="3528" y="75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uhija Arben" userId="ace3c74f-9b42-4570-b485-f78033d8f742" providerId="ADAL" clId="{F7C4ED64-9471-468F-BDD6-6F36A353E568}"/>
    <pc:docChg chg="undo custSel addSld delSld modSld sldOrd modMainMaster replTag">
      <pc:chgData name="Nuhija Arben" userId="ace3c74f-9b42-4570-b485-f78033d8f742" providerId="ADAL" clId="{F7C4ED64-9471-468F-BDD6-6F36A353E568}" dt="2022-03-21T20:49:27.270" v="543" actId="20577"/>
      <pc:docMkLst>
        <pc:docMk/>
      </pc:docMkLst>
      <pc:sldChg chg="del">
        <pc:chgData name="Nuhija Arben" userId="ace3c74f-9b42-4570-b485-f78033d8f742" providerId="ADAL" clId="{F7C4ED64-9471-468F-BDD6-6F36A353E568}" dt="2022-03-21T20:37:12.407" v="85" actId="47"/>
        <pc:sldMkLst>
          <pc:docMk/>
          <pc:sldMk cId="3649522958" sldId="256"/>
        </pc:sldMkLst>
      </pc:sldChg>
      <pc:sldChg chg="add del">
        <pc:chgData name="Nuhija Arben" userId="ace3c74f-9b42-4570-b485-f78033d8f742" providerId="ADAL" clId="{F7C4ED64-9471-468F-BDD6-6F36A353E568}" dt="2022-03-21T20:37:22.411" v="88" actId="47"/>
        <pc:sldMkLst>
          <pc:docMk/>
          <pc:sldMk cId="520325725" sldId="257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246289258" sldId="258"/>
        </pc:sldMkLst>
      </pc:sldChg>
      <pc:sldChg chg="addSp delSp modSp mod">
        <pc:chgData name="Nuhija Arben" userId="ace3c74f-9b42-4570-b485-f78033d8f742" providerId="ADAL" clId="{F7C4ED64-9471-468F-BDD6-6F36A353E568}" dt="2022-03-21T20:36:24.496" v="57"/>
        <pc:sldMkLst>
          <pc:docMk/>
          <pc:sldMk cId="3897754203" sldId="263"/>
        </pc:sldMkLst>
        <pc:spChg chg="mod">
          <ac:chgData name="Nuhija Arben" userId="ace3c74f-9b42-4570-b485-f78033d8f742" providerId="ADAL" clId="{F7C4ED64-9471-468F-BDD6-6F36A353E568}" dt="2022-03-21T20:36:24.176" v="1" actId="948"/>
          <ac:spMkLst>
            <pc:docMk/>
            <pc:sldMk cId="3897754203" sldId="263"/>
            <ac:spMk id="2" creationId="{EAD8D3E5-5FBC-4F95-B2B9-035D09CA3F7C}"/>
          </ac:spMkLst>
        </pc:spChg>
        <pc:spChg chg="add del mod modVis">
          <ac:chgData name="Nuhija Arben" userId="ace3c74f-9b42-4570-b485-f78033d8f742" providerId="ADAL" clId="{F7C4ED64-9471-468F-BDD6-6F36A353E568}" dt="2022-03-21T20:36:24.353" v="41"/>
          <ac:spMkLst>
            <pc:docMk/>
            <pc:sldMk cId="3897754203" sldId="263"/>
            <ac:spMk id="5" creationId="{A09683C3-3768-4B87-B003-3914BF3A6881}"/>
          </ac:spMkLst>
        </pc:spChg>
        <pc:graphicFrameChg chg="add mod ord modVis replST">
          <ac:chgData name="Nuhija Arben" userId="ace3c74f-9b42-4570-b485-f78033d8f742" providerId="ADAL" clId="{F7C4ED64-9471-468F-BDD6-6F36A353E568}" dt="2022-03-21T20:36:24.496" v="57"/>
          <ac:graphicFrameMkLst>
            <pc:docMk/>
            <pc:sldMk cId="3897754203" sldId="263"/>
            <ac:graphicFrameMk id="6" creationId="{9AA40D62-9A54-44B5-B3A7-4DE099FA5F1F}"/>
          </ac:graphicFrameMkLst>
        </pc:graphicFrameChg>
      </pc:sldChg>
      <pc:sldChg chg="del">
        <pc:chgData name="Nuhija Arben" userId="ace3c74f-9b42-4570-b485-f78033d8f742" providerId="ADAL" clId="{F7C4ED64-9471-468F-BDD6-6F36A353E568}" dt="2022-03-21T20:37:12.057" v="84" actId="47"/>
        <pc:sldMkLst>
          <pc:docMk/>
          <pc:sldMk cId="3944186885" sldId="282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1574681602" sldId="285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108078005" sldId="286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14598483" sldId="287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3187995161" sldId="288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3046195750" sldId="289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362613852" sldId="290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3046619602" sldId="291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1421125773" sldId="341"/>
        </pc:sldMkLst>
      </pc:sldChg>
      <pc:sldChg chg="add del">
        <pc:chgData name="Nuhija Arben" userId="ace3c74f-9b42-4570-b485-f78033d8f742" providerId="ADAL" clId="{F7C4ED64-9471-468F-BDD6-6F36A353E568}" dt="2022-03-21T20:38:00.741" v="92"/>
        <pc:sldMkLst>
          <pc:docMk/>
          <pc:sldMk cId="3196374343" sldId="342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1320896450" sldId="344"/>
        </pc:sldMkLst>
      </pc:sldChg>
      <pc:sldChg chg="del">
        <pc:chgData name="Nuhija Arben" userId="ace3c74f-9b42-4570-b485-f78033d8f742" providerId="ADAL" clId="{F7C4ED64-9471-468F-BDD6-6F36A353E568}" dt="2022-03-21T20:36:42.994" v="74" actId="47"/>
        <pc:sldMkLst>
          <pc:docMk/>
          <pc:sldMk cId="1447705606" sldId="345"/>
        </pc:sldMkLst>
      </pc:sldChg>
      <pc:sldChg chg="del">
        <pc:chgData name="Nuhija Arben" userId="ace3c74f-9b42-4570-b485-f78033d8f742" providerId="ADAL" clId="{F7C4ED64-9471-468F-BDD6-6F36A353E568}" dt="2022-03-21T20:36:42.994" v="74" actId="47"/>
        <pc:sldMkLst>
          <pc:docMk/>
          <pc:sldMk cId="1900223019" sldId="347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53239020" sldId="348"/>
        </pc:sldMkLst>
      </pc:sldChg>
      <pc:sldChg chg="addSp delSp modSp mod ord">
        <pc:chgData name="Nuhija Arben" userId="ace3c74f-9b42-4570-b485-f78033d8f742" providerId="ADAL" clId="{F7C4ED64-9471-468F-BDD6-6F36A353E568}" dt="2022-03-21T20:42:53.349" v="410"/>
        <pc:sldMkLst>
          <pc:docMk/>
          <pc:sldMk cId="2518621900" sldId="353"/>
        </pc:sldMkLst>
        <pc:spChg chg="add del mod modVis">
          <ac:chgData name="Nuhija Arben" userId="ace3c74f-9b42-4570-b485-f78033d8f742" providerId="ADAL" clId="{F7C4ED64-9471-468F-BDD6-6F36A353E568}" dt="2022-03-21T20:42:53.265" v="394"/>
          <ac:spMkLst>
            <pc:docMk/>
            <pc:sldMk cId="2518621900" sldId="353"/>
            <ac:spMk id="2" creationId="{F33690FD-B187-451F-A87B-545AAD41174D}"/>
          </ac:spMkLst>
        </pc:spChg>
        <pc:spChg chg="mod">
          <ac:chgData name="Nuhija Arben" userId="ace3c74f-9b42-4570-b485-f78033d8f742" providerId="ADAL" clId="{F7C4ED64-9471-468F-BDD6-6F36A353E568}" dt="2022-03-21T20:42:53.119" v="339" actId="948"/>
          <ac:spMkLst>
            <pc:docMk/>
            <pc:sldMk cId="2518621900" sldId="353"/>
            <ac:spMk id="5" creationId="{F8D6DD63-30E6-4568-849D-B178A9758BEF}"/>
          </ac:spMkLst>
        </pc:spChg>
        <pc:graphicFrameChg chg="add mod ord modVis replST">
          <ac:chgData name="Nuhija Arben" userId="ace3c74f-9b42-4570-b485-f78033d8f742" providerId="ADAL" clId="{F7C4ED64-9471-468F-BDD6-6F36A353E568}" dt="2022-03-21T20:42:53.349" v="410"/>
          <ac:graphicFrameMkLst>
            <pc:docMk/>
            <pc:sldMk cId="2518621900" sldId="353"/>
            <ac:graphicFrameMk id="3" creationId="{42B8C0A8-01FA-4370-A107-8BCBF48C788D}"/>
          </ac:graphicFrameMkLst>
        </pc:graphicFrameChg>
        <pc:picChg chg="del">
          <ac:chgData name="Nuhija Arben" userId="ace3c74f-9b42-4570-b485-f78033d8f742" providerId="ADAL" clId="{F7C4ED64-9471-468F-BDD6-6F36A353E568}" dt="2022-03-21T20:36:52.255" v="75" actId="478"/>
          <ac:picMkLst>
            <pc:docMk/>
            <pc:sldMk cId="2518621900" sldId="353"/>
            <ac:picMk id="7" creationId="{63501B88-23B6-4B95-BABF-2B304DFD2406}"/>
          </ac:picMkLst>
        </pc:picChg>
        <pc:picChg chg="add mod">
          <ac:chgData name="Nuhija Arben" userId="ace3c74f-9b42-4570-b485-f78033d8f742" providerId="ADAL" clId="{F7C4ED64-9471-468F-BDD6-6F36A353E568}" dt="2022-03-21T20:37:40.058" v="91" actId="1076"/>
          <ac:picMkLst>
            <pc:docMk/>
            <pc:sldMk cId="2518621900" sldId="353"/>
            <ac:picMk id="8" creationId="{4FFD54FC-9F9E-4D5C-8DD6-F026AFF674C2}"/>
          </ac:picMkLst>
        </pc:picChg>
      </pc:sldChg>
      <pc:sldChg chg="del">
        <pc:chgData name="Nuhija Arben" userId="ace3c74f-9b42-4570-b485-f78033d8f742" providerId="ADAL" clId="{F7C4ED64-9471-468F-BDD6-6F36A353E568}" dt="2022-03-21T20:36:59.872" v="76" actId="47"/>
        <pc:sldMkLst>
          <pc:docMk/>
          <pc:sldMk cId="3113621231" sldId="357"/>
        </pc:sldMkLst>
      </pc:sldChg>
      <pc:sldChg chg="del">
        <pc:chgData name="Nuhija Arben" userId="ace3c74f-9b42-4570-b485-f78033d8f742" providerId="ADAL" clId="{F7C4ED64-9471-468F-BDD6-6F36A353E568}" dt="2022-03-21T20:37:06.853" v="78" actId="47"/>
        <pc:sldMkLst>
          <pc:docMk/>
          <pc:sldMk cId="896714607" sldId="358"/>
        </pc:sldMkLst>
      </pc:sldChg>
      <pc:sldChg chg="add">
        <pc:chgData name="Nuhija Arben" userId="ace3c74f-9b42-4570-b485-f78033d8f742" providerId="ADAL" clId="{F7C4ED64-9471-468F-BDD6-6F36A353E568}" dt="2022-03-21T20:38:00.741" v="92"/>
        <pc:sldMkLst>
          <pc:docMk/>
          <pc:sldMk cId="307643731" sldId="359"/>
        </pc:sldMkLst>
      </pc:sldChg>
      <pc:sldChg chg="del">
        <pc:chgData name="Nuhija Arben" userId="ace3c74f-9b42-4570-b485-f78033d8f742" providerId="ADAL" clId="{F7C4ED64-9471-468F-BDD6-6F36A353E568}" dt="2022-03-21T20:36:59.872" v="76" actId="47"/>
        <pc:sldMkLst>
          <pc:docMk/>
          <pc:sldMk cId="3534219587" sldId="359"/>
        </pc:sldMkLst>
      </pc:sldChg>
      <pc:sldChg chg="addSp delSp modSp mod">
        <pc:chgData name="Nuhija Arben" userId="ace3c74f-9b42-4570-b485-f78033d8f742" providerId="ADAL" clId="{F7C4ED64-9471-468F-BDD6-6F36A353E568}" dt="2022-03-21T20:41:23.562" v="321"/>
        <pc:sldMkLst>
          <pc:docMk/>
          <pc:sldMk cId="2828597030" sldId="360"/>
        </pc:sldMkLst>
        <pc:spChg chg="add del mod modVis">
          <ac:chgData name="Nuhija Arben" userId="ace3c74f-9b42-4570-b485-f78033d8f742" providerId="ADAL" clId="{F7C4ED64-9471-468F-BDD6-6F36A353E568}" dt="2022-03-21T20:39:49.317" v="172"/>
          <ac:spMkLst>
            <pc:docMk/>
            <pc:sldMk cId="2828597030" sldId="360"/>
            <ac:spMk id="2" creationId="{F94587E1-F440-4326-A108-1967502F9EB5}"/>
          </ac:spMkLst>
        </pc:spChg>
        <pc:spChg chg="mod ord">
          <ac:chgData name="Nuhija Arben" userId="ace3c74f-9b42-4570-b485-f78033d8f742" providerId="ADAL" clId="{F7C4ED64-9471-468F-BDD6-6F36A353E568}" dt="2022-03-21T20:41:14.417" v="277" actId="20577"/>
          <ac:spMkLst>
            <pc:docMk/>
            <pc:sldMk cId="2828597030" sldId="360"/>
            <ac:spMk id="3" creationId="{3D81A895-186F-4F7C-8AEF-5E41376AC9D7}"/>
          </ac:spMkLst>
        </pc:spChg>
        <pc:spChg chg="mod ord">
          <ac:chgData name="Nuhija Arben" userId="ace3c74f-9b42-4570-b485-f78033d8f742" providerId="ADAL" clId="{F7C4ED64-9471-468F-BDD6-6F36A353E568}" dt="2022-03-21T20:39:49.304" v="154"/>
          <ac:spMkLst>
            <pc:docMk/>
            <pc:sldMk cId="2828597030" sldId="360"/>
            <ac:spMk id="4" creationId="{D0D84763-EE12-4809-BABE-ECD6E88D203C}"/>
          </ac:spMkLst>
        </pc:spChg>
        <pc:spChg chg="mod ord">
          <ac:chgData name="Nuhija Arben" userId="ace3c74f-9b42-4570-b485-f78033d8f742" providerId="ADAL" clId="{F7C4ED64-9471-468F-BDD6-6F36A353E568}" dt="2022-03-21T20:41:23.423" v="279" actId="948"/>
          <ac:spMkLst>
            <pc:docMk/>
            <pc:sldMk cId="2828597030" sldId="360"/>
            <ac:spMk id="5" creationId="{E9398A05-9F61-4246-A62D-C6F025F615C7}"/>
          </ac:spMkLst>
        </pc:spChg>
        <pc:spChg chg="mod ord">
          <ac:chgData name="Nuhija Arben" userId="ace3c74f-9b42-4570-b485-f78033d8f742" providerId="ADAL" clId="{F7C4ED64-9471-468F-BDD6-6F36A353E568}" dt="2022-03-21T20:39:49.313" v="167"/>
          <ac:spMkLst>
            <pc:docMk/>
            <pc:sldMk cId="2828597030" sldId="360"/>
            <ac:spMk id="6" creationId="{169DEB93-C2B1-2B45-B759-C3ED545850A6}"/>
          </ac:spMkLst>
        </pc:spChg>
        <pc:spChg chg="add del mod modVis">
          <ac:chgData name="Nuhija Arben" userId="ace3c74f-9b42-4570-b485-f78033d8f742" providerId="ADAL" clId="{F7C4ED64-9471-468F-BDD6-6F36A353E568}" dt="2022-03-21T20:41:23.556" v="319"/>
          <ac:spMkLst>
            <pc:docMk/>
            <pc:sldMk cId="2828597030" sldId="360"/>
            <ac:spMk id="9" creationId="{3E2586F7-6A20-47B5-B3FE-E24777CB0136}"/>
          </ac:spMkLst>
        </pc:spChg>
        <pc:spChg chg="mod ord">
          <ac:chgData name="Nuhija Arben" userId="ace3c74f-9b42-4570-b485-f78033d8f742" providerId="ADAL" clId="{F7C4ED64-9471-468F-BDD6-6F36A353E568}" dt="2022-03-21T20:39:49.310" v="162"/>
          <ac:spMkLst>
            <pc:docMk/>
            <pc:sldMk cId="2828597030" sldId="360"/>
            <ac:spMk id="10" creationId="{6D2AAFFD-5A0D-4F15-9E45-0A3DEBFE6A4C}"/>
          </ac:spMkLst>
        </pc:spChg>
        <pc:spChg chg="mod ord">
          <ac:chgData name="Nuhija Arben" userId="ace3c74f-9b42-4570-b485-f78033d8f742" providerId="ADAL" clId="{F7C4ED64-9471-468F-BDD6-6F36A353E568}" dt="2022-03-21T20:40:11.658" v="240" actId="20577"/>
          <ac:spMkLst>
            <pc:docMk/>
            <pc:sldMk cId="2828597030" sldId="360"/>
            <ac:spMk id="12" creationId="{6FBD467F-4F36-D64D-8062-8BE461DF6D37}"/>
          </ac:spMkLst>
        </pc:spChg>
        <pc:graphicFrameChg chg="add mod ord modVis replST">
          <ac:chgData name="Nuhija Arben" userId="ace3c74f-9b42-4570-b485-f78033d8f742" providerId="ADAL" clId="{F7C4ED64-9471-468F-BDD6-6F36A353E568}" dt="2022-03-21T20:41:23.562" v="321"/>
          <ac:graphicFrameMkLst>
            <pc:docMk/>
            <pc:sldMk cId="2828597030" sldId="360"/>
            <ac:graphicFrameMk id="8" creationId="{E8F37F5F-EA5C-4B56-808A-1561F04C8AE9}"/>
          </ac:graphicFrameMkLst>
        </pc:graphicFrameChg>
        <pc:picChg chg="mod ord">
          <ac:chgData name="Nuhija Arben" userId="ace3c74f-9b42-4570-b485-f78033d8f742" providerId="ADAL" clId="{F7C4ED64-9471-468F-BDD6-6F36A353E568}" dt="2022-03-21T20:39:49.314" v="169"/>
          <ac:picMkLst>
            <pc:docMk/>
            <pc:sldMk cId="2828597030" sldId="360"/>
            <ac:picMk id="7" creationId="{13C51F14-3F95-7F45-A3B5-FB3684487DC3}"/>
          </ac:picMkLst>
        </pc:picChg>
        <pc:picChg chg="del mod">
          <ac:chgData name="Nuhija Arben" userId="ace3c74f-9b42-4570-b485-f78033d8f742" providerId="ADAL" clId="{F7C4ED64-9471-468F-BDD6-6F36A353E568}" dt="2022-03-21T20:39:51.230" v="189" actId="478"/>
          <ac:picMkLst>
            <pc:docMk/>
            <pc:sldMk cId="2828597030" sldId="360"/>
            <ac:picMk id="11" creationId="{FA493D52-0C12-3547-8293-4CCCF7911D01}"/>
          </ac:picMkLst>
        </pc:picChg>
        <pc:picChg chg="add mod">
          <ac:chgData name="Nuhija Arben" userId="ace3c74f-9b42-4570-b485-f78033d8f742" providerId="ADAL" clId="{F7C4ED64-9471-468F-BDD6-6F36A353E568}" dt="2022-03-21T20:39:49.302" v="152"/>
          <ac:picMkLst>
            <pc:docMk/>
            <pc:sldMk cId="2828597030" sldId="360"/>
            <ac:picMk id="1026" creationId="{36B86D3E-95E3-4A58-A1DD-972DE95D8D62}"/>
          </ac:picMkLst>
        </pc:picChg>
        <pc:picChg chg="add mod">
          <ac:chgData name="Nuhija Arben" userId="ace3c74f-9b42-4570-b485-f78033d8f742" providerId="ADAL" clId="{F7C4ED64-9471-468F-BDD6-6F36A353E568}" dt="2022-03-21T20:41:09.237" v="264" actId="1076"/>
          <ac:picMkLst>
            <pc:docMk/>
            <pc:sldMk cId="2828597030" sldId="360"/>
            <ac:picMk id="1028" creationId="{B23BA5DA-DB66-4F03-B26D-E8FFFB64F414}"/>
          </ac:picMkLst>
        </pc:picChg>
        <pc:picChg chg="mod">
          <ac:chgData name="Nuhija Arben" userId="ace3c74f-9b42-4570-b485-f78033d8f742" providerId="ADAL" clId="{F7C4ED64-9471-468F-BDD6-6F36A353E568}" dt="2022-03-21T20:39:49.307" v="157"/>
          <ac:picMkLst>
            <pc:docMk/>
            <pc:sldMk cId="2828597030" sldId="360"/>
            <ac:picMk id="4098" creationId="{58DBEB85-388E-4D7A-A9F7-0F108D39E8E5}"/>
          </ac:picMkLst>
        </pc:picChg>
        <pc:picChg chg="del mod">
          <ac:chgData name="Nuhija Arben" userId="ace3c74f-9b42-4570-b485-f78033d8f742" providerId="ADAL" clId="{F7C4ED64-9471-468F-BDD6-6F36A353E568}" dt="2022-03-21T20:41:02.455" v="263" actId="478"/>
          <ac:picMkLst>
            <pc:docMk/>
            <pc:sldMk cId="2828597030" sldId="360"/>
            <ac:picMk id="4104" creationId="{5C1FF6FE-9147-401F-A74D-9405001CA71B}"/>
          </ac:picMkLst>
        </pc:picChg>
      </pc:sldChg>
      <pc:sldChg chg="add">
        <pc:chgData name="Nuhija Arben" userId="ace3c74f-9b42-4570-b485-f78033d8f742" providerId="ADAL" clId="{F7C4ED64-9471-468F-BDD6-6F36A353E568}" dt="2022-03-21T20:38:00.741" v="92"/>
        <pc:sldMkLst>
          <pc:docMk/>
          <pc:sldMk cId="674720270" sldId="361"/>
        </pc:sldMkLst>
      </pc:sldChg>
      <pc:sldChg chg="addSp modSp add mod">
        <pc:chgData name="Nuhija Arben" userId="ace3c74f-9b42-4570-b485-f78033d8f742" providerId="ADAL" clId="{F7C4ED64-9471-468F-BDD6-6F36A353E568}" dt="2022-03-21T20:42:15.868" v="335" actId="1076"/>
        <pc:sldMkLst>
          <pc:docMk/>
          <pc:sldMk cId="73403056" sldId="362"/>
        </pc:sldMkLst>
        <pc:spChg chg="add mod">
          <ac:chgData name="Nuhija Arben" userId="ace3c74f-9b42-4570-b485-f78033d8f742" providerId="ADAL" clId="{F7C4ED64-9471-468F-BDD6-6F36A353E568}" dt="2022-03-21T20:42:15.868" v="335" actId="1076"/>
          <ac:spMkLst>
            <pc:docMk/>
            <pc:sldMk cId="73403056" sldId="362"/>
            <ac:spMk id="2" creationId="{DCF3982F-D56E-4CBC-AC61-5C3B5DEAF0B1}"/>
          </ac:spMkLst>
        </pc:spChg>
      </pc:sldChg>
      <pc:sldChg chg="addSp delSp modSp add mod">
        <pc:chgData name="Nuhija Arben" userId="ace3c74f-9b42-4570-b485-f78033d8f742" providerId="ADAL" clId="{F7C4ED64-9471-468F-BDD6-6F36A353E568}" dt="2022-03-21T20:47:50.883" v="515" actId="1076"/>
        <pc:sldMkLst>
          <pc:docMk/>
          <pc:sldMk cId="2277594639" sldId="363"/>
        </pc:sldMkLst>
        <pc:spChg chg="add del mod modVis">
          <ac:chgData name="Nuhija Arben" userId="ace3c74f-9b42-4570-b485-f78033d8f742" providerId="ADAL" clId="{F7C4ED64-9471-468F-BDD6-6F36A353E568}" dt="2022-03-21T20:43:00.954" v="456"/>
          <ac:spMkLst>
            <pc:docMk/>
            <pc:sldMk cId="2277594639" sldId="363"/>
            <ac:spMk id="2" creationId="{E5014B1F-F497-4EA3-9E74-5842E63DA717}"/>
          </ac:spMkLst>
        </pc:spChg>
        <pc:spChg chg="mod">
          <ac:chgData name="Nuhija Arben" userId="ace3c74f-9b42-4570-b485-f78033d8f742" providerId="ADAL" clId="{F7C4ED64-9471-468F-BDD6-6F36A353E568}" dt="2022-03-21T20:43:00.867" v="416" actId="948"/>
          <ac:spMkLst>
            <pc:docMk/>
            <pc:sldMk cId="2277594639" sldId="363"/>
            <ac:spMk id="5" creationId="{F8D6DD63-30E6-4568-849D-B178A9758BEF}"/>
          </ac:spMkLst>
        </pc:spChg>
        <pc:spChg chg="add del mod">
          <ac:chgData name="Nuhija Arben" userId="ace3c74f-9b42-4570-b485-f78033d8f742" providerId="ADAL" clId="{F7C4ED64-9471-468F-BDD6-6F36A353E568}" dt="2022-03-21T20:45:44.746" v="460"/>
          <ac:spMkLst>
            <pc:docMk/>
            <pc:sldMk cId="2277594639" sldId="363"/>
            <ac:spMk id="7" creationId="{D96389CE-DCF6-4C8C-A232-0A068B923FE2}"/>
          </ac:spMkLst>
        </pc:spChg>
        <pc:spChg chg="add mod">
          <ac:chgData name="Nuhija Arben" userId="ace3c74f-9b42-4570-b485-f78033d8f742" providerId="ADAL" clId="{F7C4ED64-9471-468F-BDD6-6F36A353E568}" dt="2022-03-21T20:47:24.005" v="503" actId="1076"/>
          <ac:spMkLst>
            <pc:docMk/>
            <pc:sldMk cId="2277594639" sldId="363"/>
            <ac:spMk id="13" creationId="{D8A3A609-B518-42E3-A969-0B27CD8B4EDB}"/>
          </ac:spMkLst>
        </pc:spChg>
        <pc:spChg chg="add mod">
          <ac:chgData name="Nuhija Arben" userId="ace3c74f-9b42-4570-b485-f78033d8f742" providerId="ADAL" clId="{F7C4ED64-9471-468F-BDD6-6F36A353E568}" dt="2022-03-21T20:47:50.883" v="515" actId="1076"/>
          <ac:spMkLst>
            <pc:docMk/>
            <pc:sldMk cId="2277594639" sldId="363"/>
            <ac:spMk id="17" creationId="{9B57D16C-D605-465F-9A17-33445154ACB1}"/>
          </ac:spMkLst>
        </pc:spChg>
        <pc:graphicFrameChg chg="mod">
          <ac:chgData name="Nuhija Arben" userId="ace3c74f-9b42-4570-b485-f78033d8f742" providerId="ADAL" clId="{F7C4ED64-9471-468F-BDD6-6F36A353E568}" dt="2022-03-21T20:43:00.959" v="458"/>
          <ac:graphicFrameMkLst>
            <pc:docMk/>
            <pc:sldMk cId="2277594639" sldId="363"/>
            <ac:graphicFrameMk id="3" creationId="{42B8C0A8-01FA-4370-A107-8BCBF48C788D}"/>
          </ac:graphicFrameMkLst>
        </pc:graphicFrameChg>
        <pc:picChg chg="del">
          <ac:chgData name="Nuhija Arben" userId="ace3c74f-9b42-4570-b485-f78033d8f742" providerId="ADAL" clId="{F7C4ED64-9471-468F-BDD6-6F36A353E568}" dt="2022-03-21T20:43:04.996" v="459" actId="478"/>
          <ac:picMkLst>
            <pc:docMk/>
            <pc:sldMk cId="2277594639" sldId="363"/>
            <ac:picMk id="8" creationId="{4FFD54FC-9F9E-4D5C-8DD6-F026AFF674C2}"/>
          </ac:picMkLst>
        </pc:picChg>
        <pc:picChg chg="add mod">
          <ac:chgData name="Nuhija Arben" userId="ace3c74f-9b42-4570-b485-f78033d8f742" providerId="ADAL" clId="{F7C4ED64-9471-468F-BDD6-6F36A353E568}" dt="2022-03-21T20:47:42.321" v="512" actId="1036"/>
          <ac:picMkLst>
            <pc:docMk/>
            <pc:sldMk cId="2277594639" sldId="363"/>
            <ac:picMk id="10" creationId="{CF7FD822-5C4C-4158-8B34-19818843061C}"/>
          </ac:picMkLst>
        </pc:picChg>
        <pc:picChg chg="add mod modCrop">
          <ac:chgData name="Nuhija Arben" userId="ace3c74f-9b42-4570-b485-f78033d8f742" providerId="ADAL" clId="{F7C4ED64-9471-468F-BDD6-6F36A353E568}" dt="2022-03-21T20:47:45.632" v="514" actId="1036"/>
          <ac:picMkLst>
            <pc:docMk/>
            <pc:sldMk cId="2277594639" sldId="363"/>
            <ac:picMk id="12" creationId="{AC4D9819-110F-4BE2-992D-4D911129AD1C}"/>
          </ac:picMkLst>
        </pc:picChg>
        <pc:picChg chg="del">
          <ac:chgData name="Nuhija Arben" userId="ace3c74f-9b42-4570-b485-f78033d8f742" providerId="ADAL" clId="{F7C4ED64-9471-468F-BDD6-6F36A353E568}" dt="2022-03-21T20:43:04.996" v="459" actId="478"/>
          <ac:picMkLst>
            <pc:docMk/>
            <pc:sldMk cId="2277594639" sldId="363"/>
            <ac:picMk id="16" creationId="{BBC4CC9A-2CE2-45CA-A546-897A527EF10D}"/>
          </ac:picMkLst>
        </pc:picChg>
        <pc:picChg chg="del">
          <ac:chgData name="Nuhija Arben" userId="ace3c74f-9b42-4570-b485-f78033d8f742" providerId="ADAL" clId="{F7C4ED64-9471-468F-BDD6-6F36A353E568}" dt="2022-03-21T20:43:04.996" v="459" actId="478"/>
          <ac:picMkLst>
            <pc:docMk/>
            <pc:sldMk cId="2277594639" sldId="363"/>
            <ac:picMk id="18" creationId="{1C20F986-F840-46E7-801A-477748DD9575}"/>
          </ac:picMkLst>
        </pc:picChg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298775486" sldId="364"/>
        </pc:sldMkLst>
      </pc:sldChg>
      <pc:sldChg chg="addSp delSp modSp add mod">
        <pc:chgData name="Nuhija Arben" userId="ace3c74f-9b42-4570-b485-f78033d8f742" providerId="ADAL" clId="{F7C4ED64-9471-468F-BDD6-6F36A353E568}" dt="2022-03-21T20:49:27.270" v="543" actId="20577"/>
        <pc:sldMkLst>
          <pc:docMk/>
          <pc:sldMk cId="3006244605" sldId="364"/>
        </pc:sldMkLst>
        <pc:spChg chg="add del mod">
          <ac:chgData name="Nuhija Arben" userId="ace3c74f-9b42-4570-b485-f78033d8f742" providerId="ADAL" clId="{F7C4ED64-9471-468F-BDD6-6F36A353E568}" dt="2022-03-21T20:48:08.959" v="518" actId="478"/>
          <ac:spMkLst>
            <pc:docMk/>
            <pc:sldMk cId="3006244605" sldId="364"/>
            <ac:spMk id="6" creationId="{7BAEBC84-56F5-4AFF-AA91-4228FCE17FC6}"/>
          </ac:spMkLst>
        </pc:spChg>
        <pc:spChg chg="mod">
          <ac:chgData name="Nuhija Arben" userId="ace3c74f-9b42-4570-b485-f78033d8f742" providerId="ADAL" clId="{F7C4ED64-9471-468F-BDD6-6F36A353E568}" dt="2022-03-21T20:48:58.858" v="538" actId="20577"/>
          <ac:spMkLst>
            <pc:docMk/>
            <pc:sldMk cId="3006244605" sldId="364"/>
            <ac:spMk id="13" creationId="{D8A3A609-B518-42E3-A969-0B27CD8B4EDB}"/>
          </ac:spMkLst>
        </pc:spChg>
        <pc:spChg chg="del">
          <ac:chgData name="Nuhija Arben" userId="ace3c74f-9b42-4570-b485-f78033d8f742" providerId="ADAL" clId="{F7C4ED64-9471-468F-BDD6-6F36A353E568}" dt="2022-03-21T20:48:10.759" v="520" actId="478"/>
          <ac:spMkLst>
            <pc:docMk/>
            <pc:sldMk cId="3006244605" sldId="364"/>
            <ac:spMk id="17" creationId="{9B57D16C-D605-465F-9A17-33445154ACB1}"/>
          </ac:spMkLst>
        </pc:spChg>
        <pc:graphicFrameChg chg="add mod modGraphic">
          <ac:chgData name="Nuhija Arben" userId="ace3c74f-9b42-4570-b485-f78033d8f742" providerId="ADAL" clId="{F7C4ED64-9471-468F-BDD6-6F36A353E568}" dt="2022-03-21T20:49:27.270" v="543" actId="20577"/>
          <ac:graphicFrameMkLst>
            <pc:docMk/>
            <pc:sldMk cId="3006244605" sldId="364"/>
            <ac:graphicFrameMk id="7" creationId="{3EA0F4BC-9607-4B86-807D-6BF817D11351}"/>
          </ac:graphicFrameMkLst>
        </pc:graphicFrameChg>
        <pc:picChg chg="del">
          <ac:chgData name="Nuhija Arben" userId="ace3c74f-9b42-4570-b485-f78033d8f742" providerId="ADAL" clId="{F7C4ED64-9471-468F-BDD6-6F36A353E568}" dt="2022-03-21T20:48:05.501" v="517" actId="478"/>
          <ac:picMkLst>
            <pc:docMk/>
            <pc:sldMk cId="3006244605" sldId="364"/>
            <ac:picMk id="10" creationId="{CF7FD822-5C4C-4158-8B34-19818843061C}"/>
          </ac:picMkLst>
        </pc:picChg>
        <pc:picChg chg="del">
          <ac:chgData name="Nuhija Arben" userId="ace3c74f-9b42-4570-b485-f78033d8f742" providerId="ADAL" clId="{F7C4ED64-9471-468F-BDD6-6F36A353E568}" dt="2022-03-21T20:48:09.791" v="519" actId="478"/>
          <ac:picMkLst>
            <pc:docMk/>
            <pc:sldMk cId="3006244605" sldId="364"/>
            <ac:picMk id="12" creationId="{AC4D9819-110F-4BE2-992D-4D911129AD1C}"/>
          </ac:picMkLst>
        </pc:picChg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3013547241" sldId="366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765192559" sldId="367"/>
        </pc:sldMkLst>
      </pc:sldChg>
      <pc:sldChg chg="del">
        <pc:chgData name="Nuhija Arben" userId="ace3c74f-9b42-4570-b485-f78033d8f742" providerId="ADAL" clId="{F7C4ED64-9471-468F-BDD6-6F36A353E568}" dt="2022-03-21T20:37:05.490" v="77" actId="47"/>
        <pc:sldMkLst>
          <pc:docMk/>
          <pc:sldMk cId="946546544" sldId="368"/>
        </pc:sldMkLst>
      </pc:sldChg>
      <pc:sldChg chg="del">
        <pc:chgData name="Nuhija Arben" userId="ace3c74f-9b42-4570-b485-f78033d8f742" providerId="ADAL" clId="{F7C4ED64-9471-468F-BDD6-6F36A353E568}" dt="2022-03-21T20:37:07.969" v="79" actId="47"/>
        <pc:sldMkLst>
          <pc:docMk/>
          <pc:sldMk cId="2110434425" sldId="369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1286727295" sldId="370"/>
        </pc:sldMkLst>
      </pc:sldChg>
      <pc:sldChg chg="del">
        <pc:chgData name="Nuhija Arben" userId="ace3c74f-9b42-4570-b485-f78033d8f742" providerId="ADAL" clId="{F7C4ED64-9471-468F-BDD6-6F36A353E568}" dt="2022-03-21T20:37:10.826" v="82" actId="47"/>
        <pc:sldMkLst>
          <pc:docMk/>
          <pc:sldMk cId="804930393" sldId="371"/>
        </pc:sldMkLst>
      </pc:sldChg>
      <pc:sldChg chg="del">
        <pc:chgData name="Nuhija Arben" userId="ace3c74f-9b42-4570-b485-f78033d8f742" providerId="ADAL" clId="{F7C4ED64-9471-468F-BDD6-6F36A353E568}" dt="2022-03-21T20:37:09.507" v="80" actId="47"/>
        <pc:sldMkLst>
          <pc:docMk/>
          <pc:sldMk cId="918571763" sldId="372"/>
        </pc:sldMkLst>
      </pc:sldChg>
      <pc:sldChg chg="del">
        <pc:chgData name="Nuhija Arben" userId="ace3c74f-9b42-4570-b485-f78033d8f742" providerId="ADAL" clId="{F7C4ED64-9471-468F-BDD6-6F36A353E568}" dt="2022-03-21T20:37:11.305" v="83" actId="47"/>
        <pc:sldMkLst>
          <pc:docMk/>
          <pc:sldMk cId="3758338235" sldId="373"/>
        </pc:sldMkLst>
      </pc:sldChg>
      <pc:sldChg chg="del">
        <pc:chgData name="Nuhija Arben" userId="ace3c74f-9b42-4570-b485-f78033d8f742" providerId="ADAL" clId="{F7C4ED64-9471-468F-BDD6-6F36A353E568}" dt="2022-03-21T20:37:10.237" v="81" actId="47"/>
        <pc:sldMkLst>
          <pc:docMk/>
          <pc:sldMk cId="670939999" sldId="375"/>
        </pc:sldMkLst>
      </pc:sldChg>
      <pc:sldChg chg="del">
        <pc:chgData name="Nuhija Arben" userId="ace3c74f-9b42-4570-b485-f78033d8f742" providerId="ADAL" clId="{F7C4ED64-9471-468F-BDD6-6F36A353E568}" dt="2022-03-21T20:37:22.411" v="88" actId="47"/>
        <pc:sldMkLst>
          <pc:docMk/>
          <pc:sldMk cId="2717598026" sldId="376"/>
        </pc:sldMkLst>
      </pc:sldChg>
      <pc:sldMasterChg chg="addSp modSp mod delSldLayout">
        <pc:chgData name="Nuhija Arben" userId="ace3c74f-9b42-4570-b485-f78033d8f742" providerId="ADAL" clId="{F7C4ED64-9471-468F-BDD6-6F36A353E568}" dt="2022-03-21T20:37:22.411" v="88" actId="47"/>
        <pc:sldMasterMkLst>
          <pc:docMk/>
          <pc:sldMasterMk cId="1011663896" sldId="2147483657"/>
        </pc:sldMasterMkLst>
        <pc:graphicFrameChg chg="add mod ord modVis replST">
          <ac:chgData name="Nuhija Arben" userId="ace3c74f-9b42-4570-b485-f78033d8f742" providerId="ADAL" clId="{F7C4ED64-9471-468F-BDD6-6F36A353E568}" dt="2022-03-21T20:36:24.592" v="73"/>
          <ac:graphicFrameMkLst>
            <pc:docMk/>
            <pc:sldMasterMk cId="1011663896" sldId="2147483657"/>
            <ac:graphicFrameMk id="7" creationId="{73A63E7D-840D-47F1-9CF1-F7C6DB097836}"/>
          </ac:graphicFrameMkLst>
        </pc:graphicFrameChg>
        <pc:sldLayoutChg chg="del">
          <pc:chgData name="Nuhija Arben" userId="ace3c74f-9b42-4570-b485-f78033d8f742" providerId="ADAL" clId="{F7C4ED64-9471-468F-BDD6-6F36A353E568}" dt="2022-03-21T20:37:22.411" v="88" actId="47"/>
          <pc:sldLayoutMkLst>
            <pc:docMk/>
            <pc:sldMasterMk cId="1011663896" sldId="2147483657"/>
            <pc:sldLayoutMk cId="3627730804" sldId="2147483682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29395"/>
            <a:ext cx="4320480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r>
              <a:rPr lang="de-CH" sz="900"/>
              <a:t>Kopfzeilentext</a:t>
            </a:r>
            <a:endParaRPr lang="de-CH" sz="9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37720" y="229395"/>
            <a:ext cx="1243608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EEC665CA-D682-48EC-95D2-126FD6449D65}" type="datetime1">
              <a:rPr lang="de-CH" sz="900" smtClean="0"/>
              <a:t>21.03.2022</a:t>
            </a:fld>
            <a:endParaRPr lang="de-CH" sz="9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6672" y="8489144"/>
            <a:ext cx="4320480" cy="331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de-CH" sz="900"/>
              <a:t>Fusszeilentext</a:t>
            </a:r>
            <a:endParaRPr lang="de-CH" sz="9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37720" y="8489146"/>
            <a:ext cx="1243608" cy="33132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2CEDAA2C-602C-494B-9BFF-F0D7FF14E319}" type="slidenum">
              <a:rPr lang="de-CH" sz="900" smtClean="0"/>
              <a:t>‹Nr.›</a:t>
            </a:fld>
            <a:endParaRPr lang="de-CH" sz="900" dirty="0"/>
          </a:p>
        </p:txBody>
      </p:sp>
    </p:spTree>
    <p:extLst>
      <p:ext uri="{BB962C8B-B14F-4D97-AF65-F5344CB8AC3E}">
        <p14:creationId xmlns:p14="http://schemas.microsoft.com/office/powerpoint/2010/main" val="16250026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bildplatzhalter 11"/>
          <p:cNvSpPr>
            <a:spLocks noGrp="1" noRot="1" noChangeAspect="1"/>
          </p:cNvSpPr>
          <p:nvPr>
            <p:ph type="sldImg" idx="2"/>
          </p:nvPr>
        </p:nvSpPr>
        <p:spPr>
          <a:xfrm>
            <a:off x="773113" y="1246188"/>
            <a:ext cx="5561012" cy="3127375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4"/>
          </p:nvPr>
        </p:nvSpPr>
        <p:spPr>
          <a:xfrm>
            <a:off x="775244" y="8964488"/>
            <a:ext cx="2230428" cy="1795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r>
              <a:rPr lang="de-CH" dirty="0"/>
              <a:t>Fusszeilentext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5"/>
          </p:nvPr>
        </p:nvSpPr>
        <p:spPr>
          <a:xfrm>
            <a:off x="5462663" y="8964488"/>
            <a:ext cx="871173" cy="1795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/>
            </a:lvl1pPr>
          </a:lstStyle>
          <a:p>
            <a:fld id="{83C81C81-E364-4366-A610-2DB15FF98538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6" name="Notizenplatzhalter 15"/>
          <p:cNvSpPr>
            <a:spLocks noGrp="1"/>
          </p:cNvSpPr>
          <p:nvPr>
            <p:ph type="body" sz="quarter" idx="3"/>
          </p:nvPr>
        </p:nvSpPr>
        <p:spPr>
          <a:xfrm>
            <a:off x="773424" y="4644008"/>
            <a:ext cx="5560412" cy="388843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7" name="Datumsplatzhalter 16"/>
          <p:cNvSpPr>
            <a:spLocks noGrp="1"/>
          </p:cNvSpPr>
          <p:nvPr>
            <p:ph type="dt" idx="1"/>
          </p:nvPr>
        </p:nvSpPr>
        <p:spPr>
          <a:xfrm>
            <a:off x="4229809" y="425838"/>
            <a:ext cx="2095308" cy="185722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/>
            </a:lvl1pPr>
          </a:lstStyle>
          <a:p>
            <a:fld id="{A17AAF7D-4283-4014-80F4-26E915FEACF8}" type="datetime1">
              <a:rPr lang="de-CH" smtClean="0"/>
              <a:t>21.03.2022</a:t>
            </a:fld>
            <a:endParaRPr lang="de-CH" dirty="0"/>
          </a:p>
        </p:txBody>
      </p:sp>
      <p:sp>
        <p:nvSpPr>
          <p:cNvPr id="18" name="Kopfzeilenplatzhalter 17"/>
          <p:cNvSpPr>
            <a:spLocks noGrp="1"/>
          </p:cNvSpPr>
          <p:nvPr>
            <p:ph type="hdr" sz="quarter"/>
          </p:nvPr>
        </p:nvSpPr>
        <p:spPr>
          <a:xfrm>
            <a:off x="764704" y="432000"/>
            <a:ext cx="3249080" cy="17956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/>
            </a:lvl1pPr>
          </a:lstStyle>
          <a:p>
            <a:r>
              <a:rPr lang="de-CH"/>
              <a:t>Kopfzeilen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170970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85800" rtl="0" eaLnBrk="1" latinLnBrk="0" hangingPunct="1">
      <a:spcAft>
        <a:spcPts val="450"/>
      </a:spcAft>
      <a:defRPr sz="825" kern="1200">
        <a:solidFill>
          <a:schemeClr val="tx1"/>
        </a:solidFill>
        <a:latin typeface="+mn-lt"/>
        <a:ea typeface="+mn-ea"/>
        <a:cs typeface="+mn-cs"/>
      </a:defRPr>
    </a:lvl1pPr>
    <a:lvl2pPr marL="133350" indent="-133350" algn="l" defTabSz="685800" rtl="0" eaLnBrk="1" latinLnBrk="0" hangingPunct="1">
      <a:spcAft>
        <a:spcPts val="450"/>
      </a:spcAft>
      <a:buFont typeface="Arial" panose="020B0604020202020204" pitchFamily="34" charset="0"/>
      <a:buChar char="‒"/>
      <a:defRPr sz="825" kern="1200">
        <a:solidFill>
          <a:schemeClr val="tx1"/>
        </a:solidFill>
        <a:latin typeface="+mn-lt"/>
        <a:ea typeface="+mn-ea"/>
        <a:cs typeface="+mn-cs"/>
      </a:defRPr>
    </a:lvl2pPr>
    <a:lvl3pPr marL="267891" indent="-134541" algn="l" defTabSz="685800" rtl="0" eaLnBrk="1" latinLnBrk="0" hangingPunct="1">
      <a:spcAft>
        <a:spcPts val="450"/>
      </a:spcAft>
      <a:buFont typeface="Arial" panose="020B0604020202020204" pitchFamily="34" charset="0"/>
      <a:buChar char="‒"/>
      <a:defRPr sz="825" kern="1200">
        <a:solidFill>
          <a:schemeClr val="tx1"/>
        </a:solidFill>
        <a:latin typeface="+mn-lt"/>
        <a:ea typeface="+mn-ea"/>
        <a:cs typeface="+mn-cs"/>
      </a:defRPr>
    </a:lvl3pPr>
    <a:lvl4pPr marL="401241" indent="-133350" algn="l" defTabSz="685800" rtl="0" eaLnBrk="1" latinLnBrk="0" hangingPunct="1">
      <a:spcAft>
        <a:spcPts val="450"/>
      </a:spcAft>
      <a:buFont typeface="Arial" panose="020B0604020202020204" pitchFamily="34" charset="0"/>
      <a:buChar char="‒"/>
      <a:defRPr sz="825" kern="1200">
        <a:solidFill>
          <a:schemeClr val="tx1"/>
        </a:solidFill>
        <a:latin typeface="+mn-lt"/>
        <a:ea typeface="+mn-ea"/>
        <a:cs typeface="+mn-cs"/>
      </a:defRPr>
    </a:lvl4pPr>
    <a:lvl5pPr marL="540544" indent="-139304" algn="l" defTabSz="685800" rtl="0" eaLnBrk="1" latinLnBrk="0" hangingPunct="1">
      <a:spcAft>
        <a:spcPts val="450"/>
      </a:spcAft>
      <a:buFont typeface="Arial" panose="020B0604020202020204" pitchFamily="34" charset="0"/>
      <a:buChar char="‒"/>
      <a:defRPr sz="825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9E389C6-967E-484D-82C5-BC5257F1FD12}"/>
              </a:ext>
            </a:extLst>
          </p:cNvPr>
          <p:cNvSpPr/>
          <p:nvPr userDrawn="1"/>
        </p:nvSpPr>
        <p:spPr>
          <a:xfrm>
            <a:off x="251223" y="250032"/>
            <a:ext cx="8641556" cy="39421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13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460BCC-963A-45F6-9AA8-028A03E7BB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983" y="4418402"/>
            <a:ext cx="1545974" cy="515388"/>
          </a:xfrm>
          <a:prstGeom prst="rect">
            <a:avLst/>
          </a:prstGeom>
        </p:spPr>
      </p:pic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FA63A4-2705-446A-B2FC-08A367E48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222" y="4410075"/>
            <a:ext cx="5724525" cy="538163"/>
          </a:xfrm>
        </p:spPr>
        <p:txBody>
          <a:bodyPr anchor="b"/>
          <a:lstStyle>
            <a:lvl1pPr>
              <a:lnSpc>
                <a:spcPct val="114000"/>
              </a:lnSpc>
              <a:spcAft>
                <a:spcPts val="0"/>
              </a:spcAft>
              <a:defRPr sz="1000" b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Vorname Name, Funktion</a:t>
            </a:r>
            <a:br>
              <a:rPr lang="de-DE" dirty="0"/>
            </a:br>
            <a:r>
              <a:rPr lang="de-DE" dirty="0"/>
              <a:t>vorname.name@helsana.ch</a:t>
            </a:r>
            <a:br>
              <a:rPr lang="de-DE" dirty="0"/>
            </a:br>
            <a:r>
              <a:rPr lang="de-DE" dirty="0"/>
              <a:t>Datum – Status</a:t>
            </a:r>
          </a:p>
        </p:txBody>
      </p:sp>
    </p:spTree>
    <p:extLst>
      <p:ext uri="{BB962C8B-B14F-4D97-AF65-F5344CB8AC3E}">
        <p14:creationId xmlns:p14="http://schemas.microsoft.com/office/powerpoint/2010/main" val="3891886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6318331" cy="3811191"/>
          </a:xfrm>
        </p:spPr>
        <p:txBody>
          <a:bodyPr anchor="t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CH" dirty="0"/>
              <a:t>«Zitat hinzufügen»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2254F7-39D1-4823-BABA-CDA4DE079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E1C04-1AA0-4C7D-832D-249C715DD79F}" type="datetime1">
              <a:rPr lang="de-CH" smtClean="0"/>
              <a:t>21.03.2022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FDADDD-9B43-4C8C-A2AE-3D029DE98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6420C1C-5DA2-44D6-8462-F9A72E1D4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00679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150">
                <a:solidFill>
                  <a:schemeClr val="accent1"/>
                </a:solidFill>
              </a:defRPr>
            </a:lvl1pPr>
          </a:lstStyle>
          <a:p>
            <a:r>
              <a:rPr lang="de-CH" dirty="0"/>
              <a:t>Titel der Schlussfoli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11A81E-C080-4149-A6E2-75050BF38E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222" y="4410075"/>
            <a:ext cx="5724525" cy="538163"/>
          </a:xfrm>
        </p:spPr>
        <p:txBody>
          <a:bodyPr anchor="b"/>
          <a:lstStyle>
            <a:lvl1pPr>
              <a:lnSpc>
                <a:spcPct val="114000"/>
              </a:lnSpc>
              <a:spcAft>
                <a:spcPts val="0"/>
              </a:spcAft>
              <a:defRPr sz="1000" b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Vorname Name, Funktion</a:t>
            </a:r>
            <a:br>
              <a:rPr lang="de-DE" dirty="0"/>
            </a:br>
            <a:r>
              <a:rPr lang="de-DE" dirty="0"/>
              <a:t>vorname.name@helsana.ch</a:t>
            </a:r>
            <a:br>
              <a:rPr lang="de-DE" dirty="0"/>
            </a:br>
            <a:r>
              <a:rPr lang="de-DE" dirty="0"/>
              <a:t>Datum – Statu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460BCC-963A-45F6-9AA8-028A03E7BB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983" y="4418402"/>
            <a:ext cx="1545974" cy="515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330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024D5AC-18B7-42A0-8763-5161D9B6B2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514349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51753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36147-FA92-43BE-80F4-C1E5AED6783F}" type="datetime1">
              <a:rPr lang="de-CH" smtClean="0"/>
              <a:t>21.03.2022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F964DB-3796-4536-BEF9-F27AD928B1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01152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83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1D8FDB-809B-40FC-8E3C-B2ACF4CA9BD5}" type="datetime1">
              <a:rPr lang="de-CH" smtClean="0"/>
              <a:t>21.03.2022</a:t>
            </a:fld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05446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8B2F491-78A1-41DD-9422-C5FAC0D07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1222" y="250031"/>
            <a:ext cx="8641556" cy="394216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11A81E-C080-4149-A6E2-75050BF38E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222" y="4410075"/>
            <a:ext cx="5724525" cy="538163"/>
          </a:xfrm>
        </p:spPr>
        <p:txBody>
          <a:bodyPr anchor="b"/>
          <a:lstStyle>
            <a:lvl1pPr>
              <a:lnSpc>
                <a:spcPct val="114000"/>
              </a:lnSpc>
              <a:spcAft>
                <a:spcPts val="0"/>
              </a:spcAft>
              <a:defRPr sz="1000" b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Vorname Name, Funktion</a:t>
            </a:r>
            <a:br>
              <a:rPr lang="de-DE" dirty="0"/>
            </a:br>
            <a:r>
              <a:rPr lang="de-DE" dirty="0"/>
              <a:t>vorname.name@helsana.ch</a:t>
            </a:r>
            <a:br>
              <a:rPr lang="de-DE" dirty="0"/>
            </a:br>
            <a:r>
              <a:rPr lang="de-DE" dirty="0"/>
              <a:t>Datum – Statu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460BCC-963A-45F6-9AA8-028A03E7BB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983" y="4418402"/>
            <a:ext cx="1545974" cy="515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05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9E389C6-967E-484D-82C5-BC5257F1FD12}"/>
              </a:ext>
            </a:extLst>
          </p:cNvPr>
          <p:cNvSpPr/>
          <p:nvPr userDrawn="1"/>
        </p:nvSpPr>
        <p:spPr>
          <a:xfrm>
            <a:off x="251223" y="250032"/>
            <a:ext cx="8641556" cy="39421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13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Kapitelt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D596FE3-4E78-4D9A-9FA8-575DE7122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7F6BA-6928-430B-85CE-10EE66C007EC}" type="datetime1">
              <a:rPr lang="de-CH" smtClean="0"/>
              <a:t>21.03.2022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99F878-34D7-4154-A370-D5A502A4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räsentationstitel und Datum - </a:t>
            </a:r>
            <a:r>
              <a:rPr lang="de-DE" dirty="0" err="1"/>
              <a:t>Fusszeile</a:t>
            </a:r>
            <a:r>
              <a:rPr lang="de-DE" dirty="0"/>
              <a:t> (Ändern über «Einfügen &gt; Kopf- und </a:t>
            </a:r>
            <a:r>
              <a:rPr lang="de-DE" dirty="0" err="1"/>
              <a:t>Fusszeile</a:t>
            </a:r>
            <a:r>
              <a:rPr lang="de-DE" dirty="0"/>
              <a:t>»)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EF8E60-876E-415B-BEFE-1C2C5E5EB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85715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9E389C6-967E-484D-82C5-BC5257F1FD12}"/>
              </a:ext>
            </a:extLst>
          </p:cNvPr>
          <p:cNvSpPr/>
          <p:nvPr userDrawn="1"/>
        </p:nvSpPr>
        <p:spPr>
          <a:xfrm>
            <a:off x="251223" y="250032"/>
            <a:ext cx="8641556" cy="39421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13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Kapitelt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D596FE3-4E78-4D9A-9FA8-575DE7122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B750-0C6D-4EE7-8B1B-0C6EAEA07511}" type="datetime1">
              <a:rPr lang="de-CH" smtClean="0"/>
              <a:t>21.03.2022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99F878-34D7-4154-A370-D5A502A4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EF8E60-876E-415B-BEFE-1C2C5E5EB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92538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952D7-6336-4958-A417-674568337082}" type="datetime1">
              <a:rPr lang="de-CH" smtClean="0"/>
              <a:t>21.03.2022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9E4F55B-11F2-4E1A-898D-B26A37E64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79570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329613"/>
            <a:ext cx="3942158" cy="324036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88F8C-55AB-456F-B5E5-6DC91D89F5C5}" type="datetime1">
              <a:rPr lang="de-CH" smtClean="0"/>
              <a:t>21.03.2022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200ECCB0-347C-4ABF-8C05-401270B8DFE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736678" y="1329613"/>
            <a:ext cx="3942158" cy="324036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1740E94-A34A-4087-B0EB-5283A16F7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47139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329613"/>
            <a:ext cx="3942158" cy="324036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9099D09-CB49-4333-8B8A-EC4F7EBA76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250031"/>
            <a:ext cx="4320779" cy="464343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B743E908-E8F7-49BE-8EA1-EDF5D55067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543" y="400051"/>
            <a:ext cx="3942158" cy="6238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8871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 g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329613"/>
            <a:ext cx="3942158" cy="324036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9099D09-CB49-4333-8B8A-EC4F7EBA76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61683193-46B1-42C1-B2DE-58289A683E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543" y="400051"/>
            <a:ext cx="3942158" cy="6238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32957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titat Helsana-Ro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6318331" cy="381119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«Zitat hinzufügen»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389EE1F-5D0F-4F0B-88F2-47F3A63CBA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2973" y="4783370"/>
            <a:ext cx="700302" cy="138939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09E4AF-A54A-4E22-8887-10B9DF416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B69FAD-B916-4405-BE3E-D4DD2B39F7CB}" type="datetime1">
              <a:rPr lang="de-CH" smtClean="0"/>
              <a:t>21.03.2022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BCDB989-2335-4C7A-BCF2-7682402A4C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152F306-D62D-4E0D-9CCF-E0F74D131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3752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A63E7D-840D-47F1-9CF1-F7C6DB09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04100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37" imgH="345" progId="TCLayout.ActiveDocument.1">
                  <p:embed/>
                </p:oleObj>
              </mc:Choice>
              <mc:Fallback>
                <p:oleObj name="think-cell Folie" r:id="rId17" imgW="337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A63E7D-840D-47F1-9CF1-F7C6DB0978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7543" y="400051"/>
            <a:ext cx="8208542" cy="6238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7544" y="1347787"/>
            <a:ext cx="8208541" cy="3240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733925" y="4819804"/>
            <a:ext cx="2136621" cy="1080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E85837EB-0A1F-430F-BF50-0D6945840367}" type="datetime1">
              <a:rPr lang="de-CH" smtClean="0"/>
              <a:pPr/>
              <a:t>21.03.2022</a:t>
            </a:fld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67916" y="4819804"/>
            <a:ext cx="4104083" cy="1080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42421" y="4819804"/>
            <a:ext cx="178145" cy="1080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accent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5536827-DFBF-4D04-B8A3-2171FDFD76E0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1532" y="4783370"/>
            <a:ext cx="703184" cy="138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66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6" r:id="rId2"/>
    <p:sldLayoutId id="2147483672" r:id="rId3"/>
    <p:sldLayoutId id="2147483673" r:id="rId4"/>
    <p:sldLayoutId id="2147483659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65" r:id="rId12"/>
    <p:sldLayoutId id="2147483681" r:id="rId13"/>
    <p:sldLayoutId id="2147483664" r:id="rId14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02406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07219" indent="-200025" algn="l" defTabSz="607219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09625" indent="-205979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295" userDrawn="1">
          <p15:clr>
            <a:srgbClr val="F26B43"/>
          </p15:clr>
        </p15:guide>
        <p15:guide id="10" pos="5465" userDrawn="1">
          <p15:clr>
            <a:srgbClr val="F26B43"/>
          </p15:clr>
        </p15:guide>
        <p15:guide id="11" orient="horz" pos="645" userDrawn="1">
          <p15:clr>
            <a:srgbClr val="F26B43"/>
          </p15:clr>
        </p15:guide>
        <p15:guide id="12" orient="horz" pos="837" userDrawn="1">
          <p15:clr>
            <a:srgbClr val="F26B43"/>
          </p15:clr>
        </p15:guide>
        <p15:guide id="13" orient="horz" pos="157" userDrawn="1">
          <p15:clr>
            <a:srgbClr val="F26B43"/>
          </p15:clr>
        </p15:guide>
        <p15:guide id="14" pos="158" userDrawn="1">
          <p15:clr>
            <a:srgbClr val="F26B43"/>
          </p15:clr>
        </p15:guide>
        <p15:guide id="15" pos="5602" userDrawn="1">
          <p15:clr>
            <a:srgbClr val="F26B43"/>
          </p15:clr>
        </p15:guide>
        <p15:guide id="16" orient="horz" pos="305" userDrawn="1">
          <p15:clr>
            <a:srgbClr val="F26B43"/>
          </p15:clr>
        </p15:guide>
        <p15:guide id="17" orient="horz" pos="2641" userDrawn="1">
          <p15:clr>
            <a:srgbClr val="F26B43"/>
          </p15:clr>
        </p15:guide>
        <p15:guide id="18" orient="horz" pos="3095" userDrawn="1">
          <p15:clr>
            <a:srgbClr val="F26B43"/>
          </p15:clr>
        </p15:guide>
        <p15:guide id="19" orient="horz" pos="2799" userDrawn="1">
          <p15:clr>
            <a:srgbClr val="F26B43"/>
          </p15:clr>
        </p15:guide>
        <p15:guide id="20" orient="horz" pos="29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tif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11" Type="http://schemas.openxmlformats.org/officeDocument/2006/relationships/image" Target="../media/image17.png"/><Relationship Id="rId5" Type="http://schemas.openxmlformats.org/officeDocument/2006/relationships/image" Target="../media/image12.png"/><Relationship Id="rId10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26" Type="http://schemas.openxmlformats.org/officeDocument/2006/relationships/image" Target="../media/image35.jpg"/><Relationship Id="rId3" Type="http://schemas.openxmlformats.org/officeDocument/2006/relationships/oleObject" Target="../embeddings/oleObject6.bin"/><Relationship Id="rId21" Type="http://schemas.openxmlformats.org/officeDocument/2006/relationships/image" Target="../media/image15.png"/><Relationship Id="rId7" Type="http://schemas.openxmlformats.org/officeDocument/2006/relationships/image" Target="../media/image20.png"/><Relationship Id="rId12" Type="http://schemas.openxmlformats.org/officeDocument/2006/relationships/image" Target="../media/image24.png"/><Relationship Id="rId17" Type="http://schemas.openxmlformats.org/officeDocument/2006/relationships/image" Target="../media/image29.svg"/><Relationship Id="rId25" Type="http://schemas.openxmlformats.org/officeDocument/2006/relationships/image" Target="../media/image34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8.png"/><Relationship Id="rId20" Type="http://schemas.openxmlformats.org/officeDocument/2006/relationships/image" Target="../media/image32.jpeg"/><Relationship Id="rId1" Type="http://schemas.openxmlformats.org/officeDocument/2006/relationships/tags" Target="../tags/tag7.x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24" Type="http://schemas.openxmlformats.org/officeDocument/2006/relationships/image" Target="../media/image33.png"/><Relationship Id="rId5" Type="http://schemas.openxmlformats.org/officeDocument/2006/relationships/image" Target="../media/image18.jpeg"/><Relationship Id="rId15" Type="http://schemas.openxmlformats.org/officeDocument/2006/relationships/image" Target="../media/image27.png"/><Relationship Id="rId23" Type="http://schemas.openxmlformats.org/officeDocument/2006/relationships/image" Target="../media/image17.png"/><Relationship Id="rId28" Type="http://schemas.openxmlformats.org/officeDocument/2006/relationships/image" Target="../media/image37.sv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4" Type="http://schemas.openxmlformats.org/officeDocument/2006/relationships/image" Target="../media/image1.emf"/><Relationship Id="rId9" Type="http://schemas.openxmlformats.org/officeDocument/2006/relationships/image" Target="../media/image11.png"/><Relationship Id="rId14" Type="http://schemas.openxmlformats.org/officeDocument/2006/relationships/image" Target="../media/image26.png"/><Relationship Id="rId22" Type="http://schemas.openxmlformats.org/officeDocument/2006/relationships/image" Target="../media/image16.png"/><Relationship Id="rId27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6.png"/><Relationship Id="rId3" Type="http://schemas.openxmlformats.org/officeDocument/2006/relationships/oleObject" Target="../embeddings/oleObject7.bin"/><Relationship Id="rId21" Type="http://schemas.openxmlformats.org/officeDocument/2006/relationships/image" Target="../media/image16.png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5.jp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9.svg"/><Relationship Id="rId20" Type="http://schemas.openxmlformats.org/officeDocument/2006/relationships/image" Target="../media/image15.png"/><Relationship Id="rId29" Type="http://schemas.openxmlformats.org/officeDocument/2006/relationships/image" Target="../media/image38.png"/><Relationship Id="rId1" Type="http://schemas.openxmlformats.org/officeDocument/2006/relationships/tags" Target="../tags/tag8.xml"/><Relationship Id="rId6" Type="http://schemas.openxmlformats.org/officeDocument/2006/relationships/image" Target="../media/image20.png"/><Relationship Id="rId11" Type="http://schemas.openxmlformats.org/officeDocument/2006/relationships/image" Target="../media/image24.png"/><Relationship Id="rId24" Type="http://schemas.openxmlformats.org/officeDocument/2006/relationships/image" Target="../media/image34.svg"/><Relationship Id="rId5" Type="http://schemas.openxmlformats.org/officeDocument/2006/relationships/image" Target="../media/image19.png"/><Relationship Id="rId15" Type="http://schemas.openxmlformats.org/officeDocument/2006/relationships/image" Target="../media/image28.png"/><Relationship Id="rId23" Type="http://schemas.openxmlformats.org/officeDocument/2006/relationships/image" Target="../media/image33.png"/><Relationship Id="rId28" Type="http://schemas.openxmlformats.org/officeDocument/2006/relationships/image" Target="../media/image18.jpeg"/><Relationship Id="rId10" Type="http://schemas.openxmlformats.org/officeDocument/2006/relationships/image" Target="../media/image23.png"/><Relationship Id="rId19" Type="http://schemas.openxmlformats.org/officeDocument/2006/relationships/image" Target="../media/image32.jpeg"/><Relationship Id="rId4" Type="http://schemas.openxmlformats.org/officeDocument/2006/relationships/image" Target="../media/image1.emf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17.png"/><Relationship Id="rId27" Type="http://schemas.openxmlformats.org/officeDocument/2006/relationships/image" Target="../media/image37.svg"/><Relationship Id="rId30" Type="http://schemas.openxmlformats.org/officeDocument/2006/relationships/image" Target="../media/image39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11" Type="http://schemas.openxmlformats.org/officeDocument/2006/relationships/image" Target="../media/image17.png"/><Relationship Id="rId5" Type="http://schemas.openxmlformats.org/officeDocument/2006/relationships/image" Target="../media/image12.png"/><Relationship Id="rId10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AA40D62-9A54-44B5-B3A7-4DE099FA5F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37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7" imgH="345" progId="TCLayout.ActiveDocument.1">
                  <p:embed/>
                </p:oleObj>
              </mc:Choice>
              <mc:Fallback>
                <p:oleObj name="think-cell Folie" r:id="rId3" imgW="337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AA40D62-9A54-44B5-B3A7-4DE099FA5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8D3E5-5FBC-4F95-B2B9-035D09CA3F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algn="l"/>
            <a:r>
              <a:rPr lang="en-US" b="1" i="0" cap="all" dirty="0">
                <a:solidFill>
                  <a:srgbClr val="FFFFFF"/>
                </a:solidFill>
                <a:effectLst/>
                <a:latin typeface="StolzlDisplay-Medium"/>
              </a:rPr>
              <a:t>Personalized training recommendations</a:t>
            </a:r>
            <a:endParaRPr lang="de-CH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92EEE3F-540F-4D32-8202-1346F7B2CD3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noProof="0" dirty="0"/>
              <a:t>Helsana</a:t>
            </a:r>
          </a:p>
          <a:p>
            <a:r>
              <a:rPr lang="de-CH" i="1" dirty="0"/>
              <a:t>Case </a:t>
            </a:r>
            <a:r>
              <a:rPr lang="de-CH" i="1" dirty="0" err="1"/>
              <a:t>Deep</a:t>
            </a:r>
            <a:r>
              <a:rPr lang="de-CH" i="1" dirty="0"/>
              <a:t> </a:t>
            </a:r>
            <a:r>
              <a:rPr lang="de-CH" i="1" dirty="0" err="1"/>
              <a:t>Dive</a:t>
            </a:r>
            <a:endParaRPr lang="de-CH" i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6B7F445-DAA4-4F62-BB27-FD54CD8891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b="1" noProof="0" dirty="0"/>
              <a:t>Arben Nuhija, Head </a:t>
            </a:r>
            <a:r>
              <a:rPr lang="de-CH" b="1" noProof="0" dirty="0" err="1"/>
              <a:t>of</a:t>
            </a:r>
            <a:r>
              <a:rPr lang="de-CH" b="1" noProof="0" dirty="0"/>
              <a:t> Health </a:t>
            </a:r>
            <a:r>
              <a:rPr lang="de-CH" b="1" noProof="0" dirty="0" err="1"/>
              <a:t>Platform</a:t>
            </a:r>
            <a:endParaRPr lang="de-CH" b="1" noProof="0" dirty="0"/>
          </a:p>
          <a:p>
            <a:r>
              <a:rPr lang="de-CH" noProof="0" dirty="0"/>
              <a:t>arben.nuhija@helsana.ch</a:t>
            </a:r>
          </a:p>
        </p:txBody>
      </p:sp>
    </p:spTree>
    <p:extLst>
      <p:ext uri="{BB962C8B-B14F-4D97-AF65-F5344CB8AC3E}">
        <p14:creationId xmlns:p14="http://schemas.microsoft.com/office/powerpoint/2010/main" val="3897754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8F37F5F-EA5C-4B56-808A-1561F04C8A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514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7" imgH="345" progId="TCLayout.ActiveDocument.1">
                  <p:embed/>
                </p:oleObj>
              </mc:Choice>
              <mc:Fallback>
                <p:oleObj name="think-cell Folie" r:id="rId3" imgW="337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8F37F5F-EA5C-4B56-808A-1561F04C8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36B86D3E-95E3-4A58-A1DD-972DE95D8D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327" y="1400436"/>
            <a:ext cx="1262323" cy="1262323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D84763-EE12-4809-BABE-ECD6E88D2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9398A05-9F61-4246-A62D-C6F025F61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SONALIZED TRAINING RECOMMENDATIONS</a:t>
            </a:r>
            <a:endParaRPr lang="de-CH" dirty="0"/>
          </a:p>
        </p:txBody>
      </p:sp>
      <p:pic>
        <p:nvPicPr>
          <p:cNvPr id="4098" name="Picture 2" descr="Foto bearbeiten">
            <a:extLst>
              <a:ext uri="{FF2B5EF4-FFF2-40B4-BE49-F238E27FC236}">
                <a16:creationId xmlns:a16="http://schemas.microsoft.com/office/drawing/2014/main" id="{58DBEB85-388E-4D7A-A9F7-0F108D39E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525" y="1400436"/>
            <a:ext cx="1262323" cy="1262323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D81A895-186F-4F7C-8AEF-5E41376AC9D7}"/>
              </a:ext>
            </a:extLst>
          </p:cNvPr>
          <p:cNvSpPr txBox="1"/>
          <p:nvPr/>
        </p:nvSpPr>
        <p:spPr>
          <a:xfrm>
            <a:off x="4169078" y="2954746"/>
            <a:ext cx="2448272" cy="10387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dirty="0">
                <a:solidFill>
                  <a:schemeClr val="accent2"/>
                </a:solidFill>
              </a:rPr>
              <a:t>Christian Bär</a:t>
            </a:r>
            <a:br>
              <a:rPr lang="de-CH" dirty="0">
                <a:solidFill>
                  <a:schemeClr val="accent2"/>
                </a:solidFill>
              </a:rPr>
            </a:br>
            <a:r>
              <a:rPr lang="de-CH" i="1" dirty="0">
                <a:solidFill>
                  <a:schemeClr val="accent2"/>
                </a:solidFill>
              </a:rPr>
              <a:t>Cloud Developer</a:t>
            </a:r>
          </a:p>
          <a:p>
            <a:pPr algn="ctr"/>
            <a:endParaRPr lang="de-CH" i="1" dirty="0">
              <a:solidFill>
                <a:schemeClr val="accent2"/>
              </a:solidFill>
            </a:endParaRPr>
          </a:p>
          <a:p>
            <a:pPr algn="ctr"/>
            <a:endParaRPr lang="de-CH" i="1" dirty="0">
              <a:solidFill>
                <a:schemeClr val="accent2"/>
              </a:solidFill>
            </a:endParaRPr>
          </a:p>
          <a:p>
            <a:pPr algn="ctr"/>
            <a:r>
              <a:rPr lang="de-CH" i="1" dirty="0" err="1">
                <a:solidFill>
                  <a:schemeClr val="accent2"/>
                </a:solidFill>
              </a:rPr>
              <a:t>HELSANA_Atti</a:t>
            </a:r>
            <a:endParaRPr lang="de-CH" i="1" dirty="0">
              <a:solidFill>
                <a:schemeClr val="accent2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D2AAFFD-5A0D-4F15-9E45-0A3DEBFE6A4C}"/>
              </a:ext>
            </a:extLst>
          </p:cNvPr>
          <p:cNvSpPr txBox="1"/>
          <p:nvPr/>
        </p:nvSpPr>
        <p:spPr>
          <a:xfrm>
            <a:off x="2051550" y="2934482"/>
            <a:ext cx="2448272" cy="10387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dirty="0">
                <a:solidFill>
                  <a:schemeClr val="accent2"/>
                </a:solidFill>
              </a:rPr>
              <a:t>Arben Nuhija</a:t>
            </a:r>
            <a:br>
              <a:rPr lang="de-CH" dirty="0">
                <a:solidFill>
                  <a:schemeClr val="accent2"/>
                </a:solidFill>
              </a:rPr>
            </a:br>
            <a:r>
              <a:rPr lang="de-CH" dirty="0">
                <a:solidFill>
                  <a:schemeClr val="accent2"/>
                </a:solidFill>
              </a:rPr>
              <a:t>IT </a:t>
            </a:r>
            <a:r>
              <a:rPr lang="de-CH" i="1" dirty="0">
                <a:solidFill>
                  <a:schemeClr val="accent2"/>
                </a:solidFill>
              </a:rPr>
              <a:t>Team Lead </a:t>
            </a:r>
            <a:br>
              <a:rPr lang="de-CH" i="1" dirty="0">
                <a:solidFill>
                  <a:schemeClr val="accent2"/>
                </a:solidFill>
              </a:rPr>
            </a:br>
            <a:r>
              <a:rPr lang="de-CH" i="1" dirty="0" err="1">
                <a:solidFill>
                  <a:schemeClr val="accent2"/>
                </a:solidFill>
              </a:rPr>
              <a:t>Health</a:t>
            </a:r>
            <a:r>
              <a:rPr lang="de-CH" i="1" dirty="0">
                <a:solidFill>
                  <a:schemeClr val="accent2"/>
                </a:solidFill>
              </a:rPr>
              <a:t> </a:t>
            </a:r>
            <a:r>
              <a:rPr lang="de-CH" i="1" dirty="0" err="1">
                <a:solidFill>
                  <a:schemeClr val="accent2"/>
                </a:solidFill>
              </a:rPr>
              <a:t>Platform</a:t>
            </a:r>
            <a:endParaRPr lang="de-CH" i="1" dirty="0">
              <a:solidFill>
                <a:schemeClr val="accent2"/>
              </a:solidFill>
            </a:endParaRPr>
          </a:p>
          <a:p>
            <a:pPr algn="ctr"/>
            <a:endParaRPr lang="de-CH" i="1" dirty="0">
              <a:solidFill>
                <a:schemeClr val="accent2"/>
              </a:solidFill>
            </a:endParaRPr>
          </a:p>
          <a:p>
            <a:pPr algn="ctr"/>
            <a:r>
              <a:rPr lang="de-CH" i="1" dirty="0" err="1">
                <a:solidFill>
                  <a:schemeClr val="accent2"/>
                </a:solidFill>
              </a:rPr>
              <a:t>HELSANA_arbennuhija</a:t>
            </a:r>
            <a:endParaRPr lang="de-CH" i="1" dirty="0">
              <a:solidFill>
                <a:schemeClr val="accent2"/>
              </a:solidFill>
            </a:endParaRPr>
          </a:p>
        </p:txBody>
      </p:sp>
      <p:sp>
        <p:nvSpPr>
          <p:cNvPr id="12" name="Textfeld 2">
            <a:extLst>
              <a:ext uri="{FF2B5EF4-FFF2-40B4-BE49-F238E27FC236}">
                <a16:creationId xmlns:a16="http://schemas.microsoft.com/office/drawing/2014/main" id="{6FBD467F-4F36-D64D-8062-8BE461DF6D37}"/>
              </a:ext>
            </a:extLst>
          </p:cNvPr>
          <p:cNvSpPr txBox="1"/>
          <p:nvPr/>
        </p:nvSpPr>
        <p:spPr>
          <a:xfrm>
            <a:off x="-180528" y="2931790"/>
            <a:ext cx="2448272" cy="10387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dirty="0">
                <a:solidFill>
                  <a:schemeClr val="accent2"/>
                </a:solidFill>
              </a:rPr>
              <a:t>Muhamed Ahmetovic</a:t>
            </a:r>
            <a:br>
              <a:rPr lang="de-CH" dirty="0">
                <a:solidFill>
                  <a:schemeClr val="accent2"/>
                </a:solidFill>
              </a:rPr>
            </a:br>
            <a:r>
              <a:rPr lang="de-CH" i="1" dirty="0">
                <a:solidFill>
                  <a:schemeClr val="accent2"/>
                </a:solidFill>
              </a:rPr>
              <a:t>Cloud Developer</a:t>
            </a:r>
            <a:br>
              <a:rPr lang="de-CH" i="1" dirty="0">
                <a:solidFill>
                  <a:schemeClr val="accent2"/>
                </a:solidFill>
              </a:rPr>
            </a:br>
            <a:r>
              <a:rPr lang="de-CH" i="1" dirty="0">
                <a:solidFill>
                  <a:schemeClr val="accent2"/>
                </a:solidFill>
              </a:rPr>
              <a:t>Solution </a:t>
            </a:r>
            <a:r>
              <a:rPr lang="de-CH" i="1" dirty="0" err="1">
                <a:solidFill>
                  <a:schemeClr val="accent2"/>
                </a:solidFill>
              </a:rPr>
              <a:t>Architect</a:t>
            </a:r>
            <a:endParaRPr lang="de-CH" i="1" dirty="0">
              <a:solidFill>
                <a:schemeClr val="accent2"/>
              </a:solidFill>
            </a:endParaRPr>
          </a:p>
          <a:p>
            <a:pPr algn="ctr"/>
            <a:endParaRPr lang="de-CH" i="1" dirty="0">
              <a:solidFill>
                <a:schemeClr val="accent2"/>
              </a:solidFill>
            </a:endParaRPr>
          </a:p>
          <a:p>
            <a:pPr algn="ctr"/>
            <a:r>
              <a:rPr lang="de-CH" i="1" dirty="0" err="1">
                <a:solidFill>
                  <a:schemeClr val="accent2"/>
                </a:solidFill>
              </a:rPr>
              <a:t>HELSANA_Marc</a:t>
            </a:r>
            <a:endParaRPr lang="de-CH" i="1" dirty="0">
              <a:solidFill>
                <a:schemeClr val="accent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9DEB93-C2B1-2B45-B759-C3ED545850A6}"/>
              </a:ext>
            </a:extLst>
          </p:cNvPr>
          <p:cNvSpPr/>
          <p:nvPr/>
        </p:nvSpPr>
        <p:spPr>
          <a:xfrm>
            <a:off x="6731900" y="2931790"/>
            <a:ext cx="1608133" cy="10387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dirty="0">
                <a:solidFill>
                  <a:schemeClr val="accent2"/>
                </a:solidFill>
              </a:rPr>
              <a:t>Paulina </a:t>
            </a:r>
            <a:r>
              <a:rPr lang="en-GB" dirty="0" err="1">
                <a:solidFill>
                  <a:schemeClr val="accent2"/>
                </a:solidFill>
              </a:rPr>
              <a:t>Näf</a:t>
            </a:r>
            <a:endParaRPr lang="en-GB" dirty="0">
              <a:solidFill>
                <a:schemeClr val="accent2"/>
              </a:solidFill>
            </a:endParaRPr>
          </a:p>
          <a:p>
            <a:pPr algn="ctr"/>
            <a:r>
              <a:rPr lang="en-GB" dirty="0">
                <a:solidFill>
                  <a:schemeClr val="accent2"/>
                </a:solidFill>
              </a:rPr>
              <a:t>MSc Life Sciences</a:t>
            </a:r>
          </a:p>
          <a:p>
            <a:pPr algn="ctr"/>
            <a:r>
              <a:rPr lang="en-GB" dirty="0">
                <a:solidFill>
                  <a:schemeClr val="accent2"/>
                </a:solidFill>
              </a:rPr>
              <a:t>Android/ML</a:t>
            </a:r>
          </a:p>
          <a:p>
            <a:pPr algn="ctr"/>
            <a:endParaRPr lang="en-GB" dirty="0">
              <a:solidFill>
                <a:schemeClr val="accent2"/>
              </a:solidFill>
            </a:endParaRPr>
          </a:p>
          <a:p>
            <a:pPr algn="ctr"/>
            <a:r>
              <a:rPr lang="en-GB" dirty="0" err="1">
                <a:solidFill>
                  <a:schemeClr val="accent2"/>
                </a:solidFill>
              </a:rPr>
              <a:t>HELSANA_Paulina</a:t>
            </a:r>
            <a:endParaRPr lang="en-GB" dirty="0">
              <a:solidFill>
                <a:schemeClr val="accent2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C51F14-3F95-7F45-A3B5-FB3684487D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79579" y="1345625"/>
            <a:ext cx="1317133" cy="1317133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23BA5DA-DB66-4F03-B26D-E8FFFB64F4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052" y="1400435"/>
            <a:ext cx="1262323" cy="1262323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5970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B8C0A8-01FA-4370-A107-8BCBF48C78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5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7" imgH="345" progId="TCLayout.ActiveDocument.1">
                  <p:embed/>
                </p:oleObj>
              </mc:Choice>
              <mc:Fallback>
                <p:oleObj name="think-cell Folie" r:id="rId3" imgW="337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B8C0A8-01FA-4370-A107-8BCBF48C78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Inhaltsplatzhalter 17">
            <a:extLst>
              <a:ext uri="{FF2B5EF4-FFF2-40B4-BE49-F238E27FC236}">
                <a16:creationId xmlns:a16="http://schemas.microsoft.com/office/drawing/2014/main" id="{1C20F986-F840-46E7-801A-477748DD957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5251297" y="2156818"/>
            <a:ext cx="3452624" cy="1936838"/>
          </a:xfr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BC4CC9A-2CE2-45CA-A546-897A527EF1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543" y="2253238"/>
            <a:ext cx="3456384" cy="1743999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3647A5-13BE-4F94-AC77-0EA0FA302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8D6DD63-30E6-4568-849D-B178A9758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SONALIZED TRAINING RECOMMENDATIONS</a:t>
            </a:r>
            <a:br>
              <a:rPr lang="en-US" dirty="0"/>
            </a:br>
            <a:r>
              <a:rPr lang="en-US" i="1" dirty="0"/>
              <a:t>Health Apps</a:t>
            </a:r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FFD54FC-9F9E-4D5C-8DD6-F026AFF674C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3802001" y="1347614"/>
            <a:ext cx="1539625" cy="322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6219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7A6230-9753-4ABD-B5BF-C7D0FA5919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7" imgH="345" progId="TCLayout.ActiveDocument.1">
                  <p:embed/>
                </p:oleObj>
              </mc:Choice>
              <mc:Fallback>
                <p:oleObj name="think-cell Folie" r:id="rId3" imgW="337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7A6230-9753-4ABD-B5BF-C7D0FA5919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0017604-52E7-409C-9920-F461E3C0F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SONALIZED TRAINING RECOMMENDATIONS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683A2C1-5D52-4D5B-8BD3-625AB9027EA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6866207" y="854123"/>
            <a:ext cx="1779906" cy="373385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56C62E7-F737-4B12-AF2A-88CE3B78CB6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539552" y="854124"/>
            <a:ext cx="1779906" cy="373385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FC39925-6C27-4729-9207-BF71115A3C4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2648437" y="854124"/>
            <a:ext cx="1779906" cy="373385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03305C0-1614-4964-B8A7-60A76D123D8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4757322" y="854123"/>
            <a:ext cx="1779906" cy="3733850"/>
          </a:xfrm>
          <a:prstGeom prst="rect">
            <a:avLst/>
          </a:prstGeom>
        </p:spPr>
      </p:pic>
      <p:pic>
        <p:nvPicPr>
          <p:cNvPr id="1026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72E36F12-B8B8-4512-BA8D-732FD6D75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4227934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26A08F02-F2AF-41F2-8740-654A2ACF4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8916" y="4227934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elsana Coach – Apps bei Google Play">
            <a:extLst>
              <a:ext uri="{FF2B5EF4-FFF2-40B4-BE49-F238E27FC236}">
                <a16:creationId xmlns:a16="http://schemas.microsoft.com/office/drawing/2014/main" id="{41B646CE-B801-4854-BC65-6F8DEA5C58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728" y="4227934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Helsana Trails App: die Trails auf Ihrem Smartphone - Helsana">
            <a:extLst>
              <a:ext uri="{FF2B5EF4-FFF2-40B4-BE49-F238E27FC236}">
                <a16:creationId xmlns:a16="http://schemas.microsoft.com/office/drawing/2014/main" id="{3190E03B-5894-4E94-A674-B5EACC02CC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5161" y="4229249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63743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5746546-F885-4A7F-8D1D-BE5E97990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7" imgH="345" progId="TCLayout.ActiveDocument.1">
                  <p:embed/>
                </p:oleObj>
              </mc:Choice>
              <mc:Fallback>
                <p:oleObj name="think-cell Folie" r:id="rId3" imgW="337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5746546-F885-4A7F-8D1D-BE5E97990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BE670799-FCF1-45ED-A376-B5FD152AA28E}"/>
              </a:ext>
            </a:extLst>
          </p:cNvPr>
          <p:cNvSpPr/>
          <p:nvPr/>
        </p:nvSpPr>
        <p:spPr>
          <a:xfrm>
            <a:off x="2051720" y="1203598"/>
            <a:ext cx="1398891" cy="201622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09DB38C-CA61-4A7C-8C70-12FA092C0CA3}"/>
              </a:ext>
            </a:extLst>
          </p:cNvPr>
          <p:cNvSpPr/>
          <p:nvPr/>
        </p:nvSpPr>
        <p:spPr>
          <a:xfrm>
            <a:off x="1939871" y="893858"/>
            <a:ext cx="471889" cy="733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B2AAB92-423D-4EA5-AA83-8C12B05DDB5A}"/>
              </a:ext>
            </a:extLst>
          </p:cNvPr>
          <p:cNvSpPr/>
          <p:nvPr/>
        </p:nvSpPr>
        <p:spPr>
          <a:xfrm>
            <a:off x="539552" y="1203598"/>
            <a:ext cx="1365395" cy="2016224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8D6DD63-30E6-4568-849D-B178A9758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trike="sngStrike" dirty="0"/>
              <a:t>PERSONALIZED</a:t>
            </a:r>
            <a:r>
              <a:rPr lang="en-US" dirty="0"/>
              <a:t> TRAINING RECOMMENDATIONS</a:t>
            </a:r>
            <a:endParaRPr lang="de-CH" i="1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A059F28B-9BF9-4A04-9734-9CE335291D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6223474" y="1779658"/>
            <a:ext cx="1280922" cy="2520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187FBACF-DD3A-4C3E-AE44-7BF3FF994C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6655522" y="1779660"/>
            <a:ext cx="1280922" cy="2520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2602A236-9BC5-4B63-98D8-67867EC894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159578" y="1779661"/>
            <a:ext cx="1280923" cy="252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>
            <a:extLst>
              <a:ext uri="{FF2B5EF4-FFF2-40B4-BE49-F238E27FC236}">
                <a16:creationId xmlns:a16="http://schemas.microsoft.com/office/drawing/2014/main" id="{AAB87545-583C-41C3-8DBF-0C2B08BF19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628530" y="1779662"/>
            <a:ext cx="1263950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D5B25E1-6099-4413-80DB-FFBEE42B6FF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4145825" y="1347614"/>
            <a:ext cx="1539625" cy="322979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70A930A-07F1-43F1-AD5B-D773694FE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795" y="1648585"/>
            <a:ext cx="407020" cy="34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armin Logo - Logo, zeichen, emblem, symbol. Geschichte und Bedeutung">
            <a:extLst>
              <a:ext uri="{FF2B5EF4-FFF2-40B4-BE49-F238E27FC236}">
                <a16:creationId xmlns:a16="http://schemas.microsoft.com/office/drawing/2014/main" id="{05D9C0E1-11AB-488D-AA03-A8ACC16FB4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65" y="2076376"/>
            <a:ext cx="601260" cy="33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olar Flow App | Polar Schweiz">
            <a:extLst>
              <a:ext uri="{FF2B5EF4-FFF2-40B4-BE49-F238E27FC236}">
                <a16:creationId xmlns:a16="http://schemas.microsoft.com/office/drawing/2014/main" id="{1133F4E3-0E25-4A99-8AAE-A1BAFC5450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7222" y="2011835"/>
            <a:ext cx="402451" cy="467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uunto Logo Icon - Download in Flat Style">
            <a:extLst>
              <a:ext uri="{FF2B5EF4-FFF2-40B4-BE49-F238E27FC236}">
                <a16:creationId xmlns:a16="http://schemas.microsoft.com/office/drawing/2014/main" id="{F8EDFAA1-137E-43EA-8A20-C516165E8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73" y="2533894"/>
            <a:ext cx="365604" cy="36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692921092647043959 | Health icon, Health apps iphone, Iphone icon">
            <a:extLst>
              <a:ext uri="{FF2B5EF4-FFF2-40B4-BE49-F238E27FC236}">
                <a16:creationId xmlns:a16="http://schemas.microsoft.com/office/drawing/2014/main" id="{BE54D7EE-93AA-40B7-A514-41D10BAA0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000" y="1600125"/>
            <a:ext cx="407020" cy="407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Fitbit - Revenues and profit down again">
            <a:extLst>
              <a:ext uri="{FF2B5EF4-FFF2-40B4-BE49-F238E27FC236}">
                <a16:creationId xmlns:a16="http://schemas.microsoft.com/office/drawing/2014/main" id="{34F02951-F270-464C-8F2B-5638F4F0C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68" y="2475039"/>
            <a:ext cx="500057" cy="500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92AADC9F-EEE7-4CDE-BA5A-EC4A9ED95BAD}"/>
              </a:ext>
            </a:extLst>
          </p:cNvPr>
          <p:cNvSpPr/>
          <p:nvPr/>
        </p:nvSpPr>
        <p:spPr>
          <a:xfrm>
            <a:off x="251520" y="915566"/>
            <a:ext cx="681431" cy="733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19" name="Graphic 55">
            <a:extLst>
              <a:ext uri="{FF2B5EF4-FFF2-40B4-BE49-F238E27FC236}">
                <a16:creationId xmlns:a16="http://schemas.microsoft.com/office/drawing/2014/main" id="{127D7845-BDFD-427C-B552-A29E39A7F8F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82750" y="1067893"/>
            <a:ext cx="591427" cy="591427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F4D0217-B4D5-4603-AB10-772044598ACE}"/>
              </a:ext>
            </a:extLst>
          </p:cNvPr>
          <p:cNvSpPr/>
          <p:nvPr/>
        </p:nvSpPr>
        <p:spPr>
          <a:xfrm>
            <a:off x="539552" y="3363838"/>
            <a:ext cx="2911059" cy="129614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1038" name="Picture 14" descr="Build a Custom Image Classification Model Using Google AutoML | by  Mangipudi Prashanth Sarma | Analytics Vidhya | Medium">
            <a:extLst>
              <a:ext uri="{FF2B5EF4-FFF2-40B4-BE49-F238E27FC236}">
                <a16:creationId xmlns:a16="http://schemas.microsoft.com/office/drawing/2014/main" id="{3EA5AF5F-2E8C-4966-BA7E-1A12DE3442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163" y="3439410"/>
            <a:ext cx="710580" cy="47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Preise – Formularerkennungs-API | Microsoft Azure">
            <a:extLst>
              <a:ext uri="{FF2B5EF4-FFF2-40B4-BE49-F238E27FC236}">
                <a16:creationId xmlns:a16="http://schemas.microsoft.com/office/drawing/2014/main" id="{C0828F5B-4A98-465B-A18E-CA5AF5AB5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132" y="4057829"/>
            <a:ext cx="804140" cy="422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Polar M600 review - Android Authority">
            <a:extLst>
              <a:ext uri="{FF2B5EF4-FFF2-40B4-BE49-F238E27FC236}">
                <a16:creationId xmlns:a16="http://schemas.microsoft.com/office/drawing/2014/main" id="{CFE8BF87-E182-44FB-B1EB-36F78F5EA4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0" b="7778"/>
          <a:stretch/>
        </p:blipFill>
        <p:spPr bwMode="auto">
          <a:xfrm>
            <a:off x="1775331" y="3422109"/>
            <a:ext cx="735154" cy="1155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9FD38DE8-4FEF-486A-B240-ACE73714A1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490" y="1287746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Helsana Coach – Apps bei Google Play">
            <a:extLst>
              <a:ext uri="{FF2B5EF4-FFF2-40B4-BE49-F238E27FC236}">
                <a16:creationId xmlns:a16="http://schemas.microsoft.com/office/drawing/2014/main" id="{7C9A4297-158C-4591-A1DD-E9047DDC38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402" y="1941097"/>
            <a:ext cx="546614" cy="546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Helsana Trails App: die Trails auf Ihrem Smartphone - Helsana">
            <a:extLst>
              <a:ext uri="{FF2B5EF4-FFF2-40B4-BE49-F238E27FC236}">
                <a16:creationId xmlns:a16="http://schemas.microsoft.com/office/drawing/2014/main" id="{B28F7F82-125D-4592-8898-170A0E1AF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490" y="2581801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Graphic 21">
            <a:extLst>
              <a:ext uri="{FF2B5EF4-FFF2-40B4-BE49-F238E27FC236}">
                <a16:creationId xmlns:a16="http://schemas.microsoft.com/office/drawing/2014/main" id="{3E85B1A9-8136-4BB5-BE6F-24A8FC970A4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957925" y="1112560"/>
            <a:ext cx="470108" cy="470108"/>
          </a:xfrm>
          <a:prstGeom prst="rect">
            <a:avLst/>
          </a:prstGeom>
        </p:spPr>
      </p:pic>
      <p:sp>
        <p:nvSpPr>
          <p:cNvPr id="35" name="Rechteck 34">
            <a:extLst>
              <a:ext uri="{FF2B5EF4-FFF2-40B4-BE49-F238E27FC236}">
                <a16:creationId xmlns:a16="http://schemas.microsoft.com/office/drawing/2014/main" id="{C87362DD-7929-4C74-8B3E-9E764DE78962}"/>
              </a:ext>
            </a:extLst>
          </p:cNvPr>
          <p:cNvSpPr/>
          <p:nvPr/>
        </p:nvSpPr>
        <p:spPr>
          <a:xfrm>
            <a:off x="362777" y="3278093"/>
            <a:ext cx="471889" cy="4457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26" name="Bildplatzhalter 13">
            <a:extLst>
              <a:ext uri="{FF2B5EF4-FFF2-40B4-BE49-F238E27FC236}">
                <a16:creationId xmlns:a16="http://schemas.microsoft.com/office/drawing/2014/main" id="{A94EA77B-4FA2-44AC-9DDA-E124DAEAD631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79" r="56959" b="15779"/>
          <a:stretch/>
        </p:blipFill>
        <p:spPr>
          <a:xfrm>
            <a:off x="601645" y="3422109"/>
            <a:ext cx="1090035" cy="1155299"/>
          </a:xfrm>
          <a:prstGeom prst="rect">
            <a:avLst/>
          </a:prstGeom>
        </p:spPr>
      </p:pic>
      <p:pic>
        <p:nvPicPr>
          <p:cNvPr id="32" name="Graphic 43">
            <a:extLst>
              <a:ext uri="{FF2B5EF4-FFF2-40B4-BE49-F238E27FC236}">
                <a16:creationId xmlns:a16="http://schemas.microsoft.com/office/drawing/2014/main" id="{54496460-434F-42CC-9CAA-FC0B0874CCC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48163" y="3296008"/>
            <a:ext cx="386503" cy="386503"/>
          </a:xfrm>
          <a:prstGeom prst="rect">
            <a:avLst/>
          </a:prstGeom>
        </p:spPr>
      </p:pic>
      <p:pic>
        <p:nvPicPr>
          <p:cNvPr id="37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898E87F5-F534-4086-BC79-34882E555E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442" y="4337433"/>
            <a:ext cx="406016" cy="406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feil: gestreift nach rechts 13">
            <a:extLst>
              <a:ext uri="{FF2B5EF4-FFF2-40B4-BE49-F238E27FC236}">
                <a16:creationId xmlns:a16="http://schemas.microsoft.com/office/drawing/2014/main" id="{D8D8960A-C76B-4B89-AB1D-70B6BF9F16A8}"/>
              </a:ext>
            </a:extLst>
          </p:cNvPr>
          <p:cNvSpPr/>
          <p:nvPr/>
        </p:nvSpPr>
        <p:spPr>
          <a:xfrm>
            <a:off x="3635896" y="2643758"/>
            <a:ext cx="352739" cy="576064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40" name="Pfeil: gestreift nach rechts 39">
            <a:extLst>
              <a:ext uri="{FF2B5EF4-FFF2-40B4-BE49-F238E27FC236}">
                <a16:creationId xmlns:a16="http://schemas.microsoft.com/office/drawing/2014/main" id="{054058F8-098B-483D-8905-2814B4AF0DB9}"/>
              </a:ext>
            </a:extLst>
          </p:cNvPr>
          <p:cNvSpPr/>
          <p:nvPr/>
        </p:nvSpPr>
        <p:spPr>
          <a:xfrm>
            <a:off x="5779368" y="2643758"/>
            <a:ext cx="352739" cy="576064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15" name="Verbotsymbol 14">
            <a:extLst>
              <a:ext uri="{FF2B5EF4-FFF2-40B4-BE49-F238E27FC236}">
                <a16:creationId xmlns:a16="http://schemas.microsoft.com/office/drawing/2014/main" id="{6D144EBD-16E9-47D4-BDAF-AAF5DA5EBA7D}"/>
              </a:ext>
            </a:extLst>
          </p:cNvPr>
          <p:cNvSpPr/>
          <p:nvPr/>
        </p:nvSpPr>
        <p:spPr>
          <a:xfrm>
            <a:off x="5745456" y="2725067"/>
            <a:ext cx="418012" cy="418012"/>
          </a:xfrm>
          <a:prstGeom prst="noSmoking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43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5746546-F885-4A7F-8D1D-BE5E97990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7" imgH="345" progId="TCLayout.ActiveDocument.1">
                  <p:embed/>
                </p:oleObj>
              </mc:Choice>
              <mc:Fallback>
                <p:oleObj name="think-cell Folie" r:id="rId3" imgW="337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5746546-F885-4A7F-8D1D-BE5E97990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8D6DD63-30E6-4568-849D-B178A9758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SONALIZED TRAINING RECOMMENDATIONS</a:t>
            </a:r>
            <a:endParaRPr lang="de-CH" i="1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7DD27DF-DCF3-48B6-AC79-20745AD6093C}"/>
              </a:ext>
            </a:extLst>
          </p:cNvPr>
          <p:cNvSpPr/>
          <p:nvPr/>
        </p:nvSpPr>
        <p:spPr>
          <a:xfrm>
            <a:off x="2051720" y="1203598"/>
            <a:ext cx="1398891" cy="201622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0DB8CA24-E313-4B86-A8F1-B93F9380EE33}"/>
              </a:ext>
            </a:extLst>
          </p:cNvPr>
          <p:cNvSpPr/>
          <p:nvPr/>
        </p:nvSpPr>
        <p:spPr>
          <a:xfrm>
            <a:off x="1939871" y="893858"/>
            <a:ext cx="471889" cy="733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54A340-4997-4973-8D96-0D599FFF9B35}"/>
              </a:ext>
            </a:extLst>
          </p:cNvPr>
          <p:cNvSpPr/>
          <p:nvPr/>
        </p:nvSpPr>
        <p:spPr>
          <a:xfrm>
            <a:off x="539552" y="1203598"/>
            <a:ext cx="1365395" cy="2016224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30" name="Picture 3">
            <a:extLst>
              <a:ext uri="{FF2B5EF4-FFF2-40B4-BE49-F238E27FC236}">
                <a16:creationId xmlns:a16="http://schemas.microsoft.com/office/drawing/2014/main" id="{ED15261A-FC44-4A8F-BDCB-CC674F4BD8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6102229" y="1786157"/>
            <a:ext cx="1280922" cy="2520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4">
            <a:extLst>
              <a:ext uri="{FF2B5EF4-FFF2-40B4-BE49-F238E27FC236}">
                <a16:creationId xmlns:a16="http://schemas.microsoft.com/office/drawing/2014/main" id="{C6B1C814-702B-4E28-B055-6D347E65C3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159578" y="1779661"/>
            <a:ext cx="1280923" cy="252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5">
            <a:extLst>
              <a:ext uri="{FF2B5EF4-FFF2-40B4-BE49-F238E27FC236}">
                <a16:creationId xmlns:a16="http://schemas.microsoft.com/office/drawing/2014/main" id="{9B831972-2DEC-4683-9541-19806C3BE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745839" y="1779662"/>
            <a:ext cx="1263950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20A50CB2-761B-49C7-B041-4513836225A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4145825" y="1347614"/>
            <a:ext cx="1539625" cy="3229794"/>
          </a:xfrm>
          <a:prstGeom prst="rect">
            <a:avLst/>
          </a:prstGeom>
        </p:spPr>
      </p:pic>
      <p:pic>
        <p:nvPicPr>
          <p:cNvPr id="34" name="Picture 2">
            <a:extLst>
              <a:ext uri="{FF2B5EF4-FFF2-40B4-BE49-F238E27FC236}">
                <a16:creationId xmlns:a16="http://schemas.microsoft.com/office/drawing/2014/main" id="{43C56410-8A99-49E7-ABA1-AB973F5E8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795" y="1648585"/>
            <a:ext cx="407020" cy="34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Garmin Logo - Logo, zeichen, emblem, symbol. Geschichte und Bedeutung">
            <a:extLst>
              <a:ext uri="{FF2B5EF4-FFF2-40B4-BE49-F238E27FC236}">
                <a16:creationId xmlns:a16="http://schemas.microsoft.com/office/drawing/2014/main" id="{53AD07D4-C45B-4D42-8CF1-37858184EF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65" y="2076376"/>
            <a:ext cx="601260" cy="33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Polar Flow App | Polar Schweiz">
            <a:extLst>
              <a:ext uri="{FF2B5EF4-FFF2-40B4-BE49-F238E27FC236}">
                <a16:creationId xmlns:a16="http://schemas.microsoft.com/office/drawing/2014/main" id="{D9E367DD-867B-43F1-B3B4-E12917F40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7222" y="2011835"/>
            <a:ext cx="402451" cy="467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" descr="Suunto Logo Icon - Download in Flat Style">
            <a:extLst>
              <a:ext uri="{FF2B5EF4-FFF2-40B4-BE49-F238E27FC236}">
                <a16:creationId xmlns:a16="http://schemas.microsoft.com/office/drawing/2014/main" id="{02F27FC8-FD74-41CC-A47D-27EF9974B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73" y="2533894"/>
            <a:ext cx="365604" cy="36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" descr="692921092647043959 | Health icon, Health apps iphone, Iphone icon">
            <a:extLst>
              <a:ext uri="{FF2B5EF4-FFF2-40B4-BE49-F238E27FC236}">
                <a16:creationId xmlns:a16="http://schemas.microsoft.com/office/drawing/2014/main" id="{33DBEF2B-3EBD-4BAC-A039-A5535EE1DE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000" y="1600125"/>
            <a:ext cx="407020" cy="407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2" descr="Fitbit - Revenues and profit down again">
            <a:extLst>
              <a:ext uri="{FF2B5EF4-FFF2-40B4-BE49-F238E27FC236}">
                <a16:creationId xmlns:a16="http://schemas.microsoft.com/office/drawing/2014/main" id="{F0F9DB0E-D65B-4EA8-8FBD-F65635F0E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68" y="2475039"/>
            <a:ext cx="500057" cy="500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hteck 39">
            <a:extLst>
              <a:ext uri="{FF2B5EF4-FFF2-40B4-BE49-F238E27FC236}">
                <a16:creationId xmlns:a16="http://schemas.microsoft.com/office/drawing/2014/main" id="{D95B2B5B-29F8-4D60-94E5-A722F8E16CDE}"/>
              </a:ext>
            </a:extLst>
          </p:cNvPr>
          <p:cNvSpPr/>
          <p:nvPr/>
        </p:nvSpPr>
        <p:spPr>
          <a:xfrm>
            <a:off x="251520" y="915566"/>
            <a:ext cx="681431" cy="733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41" name="Graphic 55">
            <a:extLst>
              <a:ext uri="{FF2B5EF4-FFF2-40B4-BE49-F238E27FC236}">
                <a16:creationId xmlns:a16="http://schemas.microsoft.com/office/drawing/2014/main" id="{3C2E06EE-7A12-41AA-8872-3000FDD5F87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2750" y="1067893"/>
            <a:ext cx="591427" cy="591427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4BF260F1-5B09-40CC-8018-14B2BFFAE90F}"/>
              </a:ext>
            </a:extLst>
          </p:cNvPr>
          <p:cNvSpPr/>
          <p:nvPr/>
        </p:nvSpPr>
        <p:spPr>
          <a:xfrm>
            <a:off x="539552" y="3363838"/>
            <a:ext cx="2911059" cy="129614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43" name="Picture 14" descr="Build a Custom Image Classification Model Using Google AutoML | by  Mangipudi Prashanth Sarma | Analytics Vidhya | Medium">
            <a:extLst>
              <a:ext uri="{FF2B5EF4-FFF2-40B4-BE49-F238E27FC236}">
                <a16:creationId xmlns:a16="http://schemas.microsoft.com/office/drawing/2014/main" id="{EA597092-1E14-4237-BA5E-D4D725C526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163" y="3439410"/>
            <a:ext cx="710580" cy="47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6" descr="Preise – Formularerkennungs-API | Microsoft Azure">
            <a:extLst>
              <a:ext uri="{FF2B5EF4-FFF2-40B4-BE49-F238E27FC236}">
                <a16:creationId xmlns:a16="http://schemas.microsoft.com/office/drawing/2014/main" id="{5794F7BE-B544-4693-821D-675E904177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132" y="4057829"/>
            <a:ext cx="804140" cy="422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8" descr="Polar M600 review - Android Authority">
            <a:extLst>
              <a:ext uri="{FF2B5EF4-FFF2-40B4-BE49-F238E27FC236}">
                <a16:creationId xmlns:a16="http://schemas.microsoft.com/office/drawing/2014/main" id="{1F7E57F7-A357-4730-92E9-744E7E91C2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0" b="7778"/>
          <a:stretch/>
        </p:blipFill>
        <p:spPr bwMode="auto">
          <a:xfrm>
            <a:off x="1775331" y="3422109"/>
            <a:ext cx="735154" cy="1155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EAD68B0D-B650-425B-AA97-39F9302569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490" y="1287746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" descr="Helsana Coach – Apps bei Google Play">
            <a:extLst>
              <a:ext uri="{FF2B5EF4-FFF2-40B4-BE49-F238E27FC236}">
                <a16:creationId xmlns:a16="http://schemas.microsoft.com/office/drawing/2014/main" id="{57035333-AB79-4BE3-8018-2F3005EFA8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402" y="1941097"/>
            <a:ext cx="546614" cy="546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Helsana Trails App: die Trails auf Ihrem Smartphone - Helsana">
            <a:extLst>
              <a:ext uri="{FF2B5EF4-FFF2-40B4-BE49-F238E27FC236}">
                <a16:creationId xmlns:a16="http://schemas.microsoft.com/office/drawing/2014/main" id="{0F3B763B-79B3-47DC-86A2-E99793531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490" y="2581801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Graphic 21">
            <a:extLst>
              <a:ext uri="{FF2B5EF4-FFF2-40B4-BE49-F238E27FC236}">
                <a16:creationId xmlns:a16="http://schemas.microsoft.com/office/drawing/2014/main" id="{BD16D8F7-CCDA-463D-BAAA-0AF8863F8A1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957925" y="1112560"/>
            <a:ext cx="470108" cy="470108"/>
          </a:xfrm>
          <a:prstGeom prst="rect">
            <a:avLst/>
          </a:prstGeom>
        </p:spPr>
      </p:pic>
      <p:sp>
        <p:nvSpPr>
          <p:cNvPr id="50" name="Rechteck 49">
            <a:extLst>
              <a:ext uri="{FF2B5EF4-FFF2-40B4-BE49-F238E27FC236}">
                <a16:creationId xmlns:a16="http://schemas.microsoft.com/office/drawing/2014/main" id="{C0D84F99-837D-431E-9945-87E1C3290249}"/>
              </a:ext>
            </a:extLst>
          </p:cNvPr>
          <p:cNvSpPr/>
          <p:nvPr/>
        </p:nvSpPr>
        <p:spPr>
          <a:xfrm>
            <a:off x="362777" y="3278093"/>
            <a:ext cx="471889" cy="4457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51" name="Bildplatzhalter 13">
            <a:extLst>
              <a:ext uri="{FF2B5EF4-FFF2-40B4-BE49-F238E27FC236}">
                <a16:creationId xmlns:a16="http://schemas.microsoft.com/office/drawing/2014/main" id="{5D7F5353-0C8D-4D67-B6CC-8D7EB09BB4CC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79" r="56959" b="15779"/>
          <a:stretch/>
        </p:blipFill>
        <p:spPr>
          <a:xfrm>
            <a:off x="601645" y="3422109"/>
            <a:ext cx="1090035" cy="1155299"/>
          </a:xfrm>
          <a:prstGeom prst="rect">
            <a:avLst/>
          </a:prstGeom>
        </p:spPr>
      </p:pic>
      <p:pic>
        <p:nvPicPr>
          <p:cNvPr id="52" name="Graphic 43">
            <a:extLst>
              <a:ext uri="{FF2B5EF4-FFF2-40B4-BE49-F238E27FC236}">
                <a16:creationId xmlns:a16="http://schemas.microsoft.com/office/drawing/2014/main" id="{23BEABD7-DF6D-42FB-AC87-B172BB998A6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8163" y="3296008"/>
            <a:ext cx="386503" cy="386503"/>
          </a:xfrm>
          <a:prstGeom prst="rect">
            <a:avLst/>
          </a:prstGeom>
        </p:spPr>
      </p:pic>
      <p:pic>
        <p:nvPicPr>
          <p:cNvPr id="54" name="Picture 4">
            <a:extLst>
              <a:ext uri="{FF2B5EF4-FFF2-40B4-BE49-F238E27FC236}">
                <a16:creationId xmlns:a16="http://schemas.microsoft.com/office/drawing/2014/main" id="{49981845-288B-443F-80D8-06CA9F9642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444222" y="1792650"/>
            <a:ext cx="1280923" cy="252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447BEBE3-641B-4B86-B906-E79F76F925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6702661" y="1786247"/>
            <a:ext cx="1280922" cy="2520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Graphic 2">
            <a:extLst>
              <a:ext uri="{FF2B5EF4-FFF2-40B4-BE49-F238E27FC236}">
                <a16:creationId xmlns:a16="http://schemas.microsoft.com/office/drawing/2014/main" id="{63DDBEC0-46DF-4C31-A2B8-97EBC43090D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141853" y="1929384"/>
            <a:ext cx="482596" cy="482596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8CEE27D-05D4-45EA-837A-73FE3D471406}"/>
              </a:ext>
            </a:extLst>
          </p:cNvPr>
          <p:cNvCxnSpPr/>
          <p:nvPr/>
        </p:nvCxnSpPr>
        <p:spPr>
          <a:xfrm>
            <a:off x="6804248" y="3489259"/>
            <a:ext cx="5388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9F286409-91D5-400F-9B62-8FF4C1193A64}"/>
              </a:ext>
            </a:extLst>
          </p:cNvPr>
          <p:cNvSpPr txBox="1"/>
          <p:nvPr/>
        </p:nvSpPr>
        <p:spPr>
          <a:xfrm>
            <a:off x="6784470" y="3344266"/>
            <a:ext cx="116839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600" i="1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sonal </a:t>
            </a:r>
            <a:r>
              <a:rPr lang="de-CH" sz="600" i="1" dirty="0" err="1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ommendations</a:t>
            </a:r>
            <a:endParaRPr lang="de-CH" sz="600" i="1" dirty="0">
              <a:solidFill>
                <a:schemeClr val="accent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9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3367EDCE-EE6C-4100-ACE1-130EB98E44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442" y="4337433"/>
            <a:ext cx="406016" cy="406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Pfeil: gestreift nach rechts 60">
            <a:extLst>
              <a:ext uri="{FF2B5EF4-FFF2-40B4-BE49-F238E27FC236}">
                <a16:creationId xmlns:a16="http://schemas.microsoft.com/office/drawing/2014/main" id="{857D5A30-2CF7-449F-8D9B-28AA078C6B74}"/>
              </a:ext>
            </a:extLst>
          </p:cNvPr>
          <p:cNvSpPr/>
          <p:nvPr/>
        </p:nvSpPr>
        <p:spPr>
          <a:xfrm>
            <a:off x="3635896" y="2643758"/>
            <a:ext cx="352739" cy="576064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62" name="Pfeil: gestreift nach rechts 61">
            <a:extLst>
              <a:ext uri="{FF2B5EF4-FFF2-40B4-BE49-F238E27FC236}">
                <a16:creationId xmlns:a16="http://schemas.microsoft.com/office/drawing/2014/main" id="{2D8F7B1B-762F-4916-A124-8FC1919CA9CE}"/>
              </a:ext>
            </a:extLst>
          </p:cNvPr>
          <p:cNvSpPr/>
          <p:nvPr/>
        </p:nvSpPr>
        <p:spPr>
          <a:xfrm>
            <a:off x="5779368" y="2643758"/>
            <a:ext cx="352739" cy="576064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</p:spTree>
    <p:extLst>
      <p:ext uri="{BB962C8B-B14F-4D97-AF65-F5344CB8AC3E}">
        <p14:creationId xmlns:p14="http://schemas.microsoft.com/office/powerpoint/2010/main" val="674720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7A6230-9753-4ABD-B5BF-C7D0FA5919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7" imgH="345" progId="TCLayout.ActiveDocument.1">
                  <p:embed/>
                </p:oleObj>
              </mc:Choice>
              <mc:Fallback>
                <p:oleObj name="think-cell Folie" r:id="rId3" imgW="337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7A6230-9753-4ABD-B5BF-C7D0FA5919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0017604-52E7-409C-9920-F461E3C0F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SONALIZED TRAINING RECOMMENDATIONS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683A2C1-5D52-4D5B-8BD3-625AB9027EA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6866207" y="854123"/>
            <a:ext cx="1779906" cy="373385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56C62E7-F737-4B12-AF2A-88CE3B78CB6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539552" y="854124"/>
            <a:ext cx="1779906" cy="373385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FC39925-6C27-4729-9207-BF71115A3C4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2648437" y="854124"/>
            <a:ext cx="1779906" cy="373385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03305C0-1614-4964-B8A7-60A76D123D8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4757322" y="854123"/>
            <a:ext cx="1779906" cy="3733850"/>
          </a:xfrm>
          <a:prstGeom prst="rect">
            <a:avLst/>
          </a:prstGeom>
        </p:spPr>
      </p:pic>
      <p:pic>
        <p:nvPicPr>
          <p:cNvPr id="1026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72E36F12-B8B8-4512-BA8D-732FD6D75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4227934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26A08F02-F2AF-41F2-8740-654A2ACF4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8916" y="4227934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elsana Coach – Apps bei Google Play">
            <a:extLst>
              <a:ext uri="{FF2B5EF4-FFF2-40B4-BE49-F238E27FC236}">
                <a16:creationId xmlns:a16="http://schemas.microsoft.com/office/drawing/2014/main" id="{41B646CE-B801-4854-BC65-6F8DEA5C58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728" y="4227934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Helsana Trails App: die Trails auf Ihrem Smartphone - Helsana">
            <a:extLst>
              <a:ext uri="{FF2B5EF4-FFF2-40B4-BE49-F238E27FC236}">
                <a16:creationId xmlns:a16="http://schemas.microsoft.com/office/drawing/2014/main" id="{3190E03B-5894-4E94-A674-B5EACC02CC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5161" y="4229249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DCF3982F-D56E-4CBC-AC61-5C3B5DEAF0B1}"/>
              </a:ext>
            </a:extLst>
          </p:cNvPr>
          <p:cNvSpPr/>
          <p:nvPr/>
        </p:nvSpPr>
        <p:spPr>
          <a:xfrm>
            <a:off x="2512596" y="1694912"/>
            <a:ext cx="4118435" cy="186204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115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73403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B8C0A8-01FA-4370-A107-8BCBF48C78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1267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7" imgH="345" progId="TCLayout.ActiveDocument.1">
                  <p:embed/>
                </p:oleObj>
              </mc:Choice>
              <mc:Fallback>
                <p:oleObj name="think-cell Folie" r:id="rId3" imgW="337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B8C0A8-01FA-4370-A107-8BCBF48C78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3647A5-13BE-4F94-AC77-0EA0FA302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8D6DD63-30E6-4568-849D-B178A9758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SONALIZED TRAINING RECOMMENDATIONS</a:t>
            </a:r>
            <a:br>
              <a:rPr lang="en-US" dirty="0"/>
            </a:br>
            <a:r>
              <a:rPr lang="en-US" i="1" dirty="0"/>
              <a:t>Data</a:t>
            </a:r>
            <a:endParaRPr lang="de-CH" dirty="0"/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CF7FD822-5C4C-4158-8B34-1981884306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0" y="1569227"/>
            <a:ext cx="8207375" cy="1074531"/>
          </a:xfrm>
        </p:spPr>
      </p:pic>
      <p:pic>
        <p:nvPicPr>
          <p:cNvPr id="12" name="Grafik 11" descr="Ein Bild, das Tisch enthält.&#10;&#10;Automatisch generierte Beschreibung">
            <a:extLst>
              <a:ext uri="{FF2B5EF4-FFF2-40B4-BE49-F238E27FC236}">
                <a16:creationId xmlns:a16="http://schemas.microsoft.com/office/drawing/2014/main" id="{AC4D9819-110F-4BE2-992D-4D911129AD1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0566" y="3111926"/>
            <a:ext cx="4230686" cy="10440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D8A3A609-B518-42E3-A969-0B27CD8B4EDB}"/>
              </a:ext>
            </a:extLst>
          </p:cNvPr>
          <p:cNvSpPr txBox="1"/>
          <p:nvPr/>
        </p:nvSpPr>
        <p:spPr>
          <a:xfrm>
            <a:off x="418486" y="1286999"/>
            <a:ext cx="1423531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i="1" dirty="0"/>
              <a:t>Table: </a:t>
            </a:r>
            <a:r>
              <a:rPr lang="de-CH" i="1" dirty="0" err="1"/>
              <a:t>UserActivity</a:t>
            </a:r>
            <a:endParaRPr lang="de-CH" i="1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B57D16C-D605-465F-9A17-33445154ACB1}"/>
              </a:ext>
            </a:extLst>
          </p:cNvPr>
          <p:cNvSpPr txBox="1"/>
          <p:nvPr/>
        </p:nvSpPr>
        <p:spPr>
          <a:xfrm>
            <a:off x="418486" y="2845652"/>
            <a:ext cx="936282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i="1" dirty="0"/>
              <a:t>Table: Move</a:t>
            </a:r>
          </a:p>
        </p:txBody>
      </p:sp>
    </p:spTree>
    <p:extLst>
      <p:ext uri="{BB962C8B-B14F-4D97-AF65-F5344CB8AC3E}">
        <p14:creationId xmlns:p14="http://schemas.microsoft.com/office/powerpoint/2010/main" val="22775946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B8C0A8-01FA-4370-A107-8BCBF48C78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7" imgH="345" progId="TCLayout.ActiveDocument.1">
                  <p:embed/>
                </p:oleObj>
              </mc:Choice>
              <mc:Fallback>
                <p:oleObj name="think-cell Folie" r:id="rId3" imgW="337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B8C0A8-01FA-4370-A107-8BCBF48C78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3647A5-13BE-4F94-AC77-0EA0FA302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8D6DD63-30E6-4568-849D-B178A9758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SONALIZED TRAINING RECOMMENDATIONS</a:t>
            </a:r>
            <a:br>
              <a:rPr lang="en-US" dirty="0"/>
            </a:br>
            <a:r>
              <a:rPr lang="en-US" i="1" dirty="0"/>
              <a:t>Data</a:t>
            </a:r>
            <a:endParaRPr lang="de-CH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8A3A609-B518-42E3-A969-0B27CD8B4EDB}"/>
              </a:ext>
            </a:extLst>
          </p:cNvPr>
          <p:cNvSpPr txBox="1"/>
          <p:nvPr/>
        </p:nvSpPr>
        <p:spPr>
          <a:xfrm>
            <a:off x="418486" y="1286999"/>
            <a:ext cx="1356140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i="1" dirty="0" err="1"/>
              <a:t>Column</a:t>
            </a:r>
            <a:r>
              <a:rPr lang="de-CH" i="1" dirty="0"/>
              <a:t>: </a:t>
            </a:r>
            <a:r>
              <a:rPr lang="de-CH" i="1" dirty="0" err="1"/>
              <a:t>category</a:t>
            </a:r>
            <a:endParaRPr lang="de-CH" i="1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3EA0F4BC-9607-4B86-807D-6BF817D113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5212531"/>
              </p:ext>
            </p:extLst>
          </p:nvPr>
        </p:nvGraphicFramePr>
        <p:xfrm>
          <a:off x="443050" y="1726031"/>
          <a:ext cx="1464654" cy="1264920"/>
        </p:xfrm>
        <a:graphic>
          <a:graphicData uri="http://schemas.openxmlformats.org/drawingml/2006/table">
            <a:tbl>
              <a:tblPr/>
              <a:tblGrid>
                <a:gridCol w="1464654">
                  <a:extLst>
                    <a:ext uri="{9D8B030D-6E8A-4147-A177-3AD203B41FA5}">
                      <a16:colId xmlns:a16="http://schemas.microsoft.com/office/drawing/2014/main" val="2642364129"/>
                    </a:ext>
                  </a:extLst>
                </a:gridCol>
              </a:tblGrid>
              <a:tr h="158115">
                <a:tc>
                  <a:txBody>
                    <a:bodyPr/>
                    <a:lstStyle/>
                    <a:p>
                      <a:pPr algn="l" fontAlgn="b"/>
                      <a:r>
                        <a:rPr lang="de-CH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ach Activities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099137"/>
                  </a:ext>
                </a:extLst>
              </a:tr>
              <a:tr h="158115">
                <a:tc>
                  <a:txBody>
                    <a:bodyPr/>
                    <a:lstStyle/>
                    <a:p>
                      <a:pPr algn="l" fontAlgn="b"/>
                      <a:r>
                        <a:rPr lang="de-CH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utrition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6878833"/>
                  </a:ext>
                </a:extLst>
              </a:tr>
              <a:tr h="158115">
                <a:tc>
                  <a:txBody>
                    <a:bodyPr/>
                    <a:lstStyle/>
                    <a:p>
                      <a:pPr algn="l" fontAlgn="b"/>
                      <a:r>
                        <a:rPr lang="de-CH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tting started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819490"/>
                  </a:ext>
                </a:extLst>
              </a:tr>
              <a:tr h="158115">
                <a:tc>
                  <a:txBody>
                    <a:bodyPr/>
                    <a:lstStyle/>
                    <a:p>
                      <a:pPr algn="l" fontAlgn="b"/>
                      <a:r>
                        <a:rPr lang="de-CH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ndfulness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8889982"/>
                  </a:ext>
                </a:extLst>
              </a:tr>
              <a:tr h="158115">
                <a:tc>
                  <a:txBody>
                    <a:bodyPr/>
                    <a:lstStyle/>
                    <a:p>
                      <a:pPr algn="l" fontAlgn="b"/>
                      <a:r>
                        <a:rPr lang="de-CH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ty</a:t>
                      </a:r>
                      <a:r>
                        <a:rPr lang="de-CH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d Helsana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6880792"/>
                  </a:ext>
                </a:extLst>
              </a:tr>
              <a:tr h="158115">
                <a:tc>
                  <a:txBody>
                    <a:bodyPr/>
                    <a:lstStyle/>
                    <a:p>
                      <a:pPr algn="l" fontAlgn="b"/>
                      <a:r>
                        <a:rPr lang="de-CH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vement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8096371"/>
                  </a:ext>
                </a:extLst>
              </a:tr>
              <a:tr h="158115">
                <a:tc>
                  <a:txBody>
                    <a:bodyPr/>
                    <a:lstStyle/>
                    <a:p>
                      <a:pPr algn="l" fontAlgn="b"/>
                      <a:r>
                        <a:rPr lang="de-CH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allenges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930912"/>
                  </a:ext>
                </a:extLst>
              </a:tr>
              <a:tr h="158115">
                <a:tc>
                  <a:txBody>
                    <a:bodyPr/>
                    <a:lstStyle/>
                    <a:p>
                      <a:pPr algn="l" fontAlgn="b"/>
                      <a:endParaRPr lang="de-CH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0726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6244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äsentation Helsana_final">
  <a:themeElements>
    <a:clrScheme name="Helsana">
      <a:dk1>
        <a:sysClr val="windowText" lastClr="000000"/>
      </a:dk1>
      <a:lt1>
        <a:sysClr val="window" lastClr="FFFFFF"/>
      </a:lt1>
      <a:dk2>
        <a:srgbClr val="BEA786"/>
      </a:dk2>
      <a:lt2>
        <a:srgbClr val="F2F2F2"/>
      </a:lt2>
      <a:accent1>
        <a:srgbClr val="9A0941"/>
      </a:accent1>
      <a:accent2>
        <a:srgbClr val="62AEDF"/>
      </a:accent2>
      <a:accent3>
        <a:srgbClr val="9281C6"/>
      </a:accent3>
      <a:accent4>
        <a:srgbClr val="E55086"/>
      </a:accent4>
      <a:accent5>
        <a:srgbClr val="B6CA2F"/>
      </a:accent5>
      <a:accent6>
        <a:srgbClr val="FEC6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Helsana V4.potx" id="{9A28B4E0-4409-46AB-9C1F-D73299063436}" vid="{AABB378D-8C7F-450C-BBB1-92EE76ADC746}"/>
    </a:ext>
  </a:extLst>
</a:theme>
</file>

<file path=ppt/theme/theme2.xml><?xml version="1.0" encoding="utf-8"?>
<a:theme xmlns:a="http://schemas.openxmlformats.org/drawingml/2006/main" name="Office Theme">
  <a:themeElements>
    <a:clrScheme name="Helsana">
      <a:dk1>
        <a:sysClr val="windowText" lastClr="000000"/>
      </a:dk1>
      <a:lt1>
        <a:sysClr val="window" lastClr="FFFFFF"/>
      </a:lt1>
      <a:dk2>
        <a:srgbClr val="BEA786"/>
      </a:dk2>
      <a:lt2>
        <a:srgbClr val="F2F2F2"/>
      </a:lt2>
      <a:accent1>
        <a:srgbClr val="9A0941"/>
      </a:accent1>
      <a:accent2>
        <a:srgbClr val="62AEDF"/>
      </a:accent2>
      <a:accent3>
        <a:srgbClr val="9281C6"/>
      </a:accent3>
      <a:accent4>
        <a:srgbClr val="E55086"/>
      </a:accent4>
      <a:accent5>
        <a:srgbClr val="B6CA2F"/>
      </a:accent5>
      <a:accent6>
        <a:srgbClr val="FEC6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elsana">
      <a:dk1>
        <a:sysClr val="windowText" lastClr="000000"/>
      </a:dk1>
      <a:lt1>
        <a:sysClr val="window" lastClr="FFFFFF"/>
      </a:lt1>
      <a:dk2>
        <a:srgbClr val="BEA786"/>
      </a:dk2>
      <a:lt2>
        <a:srgbClr val="F2F2F2"/>
      </a:lt2>
      <a:accent1>
        <a:srgbClr val="9A0941"/>
      </a:accent1>
      <a:accent2>
        <a:srgbClr val="62AEDF"/>
      </a:accent2>
      <a:accent3>
        <a:srgbClr val="9281C6"/>
      </a:accent3>
      <a:accent4>
        <a:srgbClr val="E55086"/>
      </a:accent4>
      <a:accent5>
        <a:srgbClr val="B6CA2F"/>
      </a:accent5>
      <a:accent6>
        <a:srgbClr val="FEC6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BF148648DACDC4996A9051B1C2B963A" ma:contentTypeVersion="4" ma:contentTypeDescription="Ein neues Dokument erstellen." ma:contentTypeScope="" ma:versionID="0f409e0267e18af70db5ca1e135a3b07">
  <xsd:schema xmlns:xsd="http://www.w3.org/2001/XMLSchema" xmlns:xs="http://www.w3.org/2001/XMLSchema" xmlns:p="http://schemas.microsoft.com/office/2006/metadata/properties" xmlns:ns2="32a47c38-a809-4c3d-b621-b2dc0f787855" xmlns:ns3="6c826b2b-6a5c-40ac-ad63-8cdbe158fcb9" targetNamespace="http://schemas.microsoft.com/office/2006/metadata/properties" ma:root="true" ma:fieldsID="7fd82b2e0c3adc3bb94e63f108f38290" ns2:_="" ns3:_="">
    <xsd:import namespace="32a47c38-a809-4c3d-b621-b2dc0f787855"/>
    <xsd:import namespace="6c826b2b-6a5c-40ac-ad63-8cdbe158fc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a47c38-a809-4c3d-b621-b2dc0f7878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826b2b-6a5c-40ac-ad63-8cdbe158fcb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05AA87F-2AC6-4029-B6C1-F718CEFF86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a47c38-a809-4c3d-b621-b2dc0f787855"/>
    <ds:schemaRef ds:uri="6c826b2b-6a5c-40ac-ad63-8cdbe158fc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EC437F1-E8B7-4A23-A9D5-B74BBFFA8BD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834D14-D231-4FB9-B0D7-4A42E2E1CFB8}">
  <ds:schemaRefs>
    <ds:schemaRef ds:uri="http://schemas.microsoft.com/office/2006/documentManagement/types"/>
    <ds:schemaRef ds:uri="http://purl.org/dc/dcmitype/"/>
    <ds:schemaRef ds:uri="http://www.w3.org/XML/1998/namespace"/>
    <ds:schemaRef ds:uri="http://purl.org/dc/terms/"/>
    <ds:schemaRef ds:uri="32a47c38-a809-4c3d-b621-b2dc0f787855"/>
    <ds:schemaRef ds:uri="http://schemas.microsoft.com/office/2006/metadata/properties"/>
    <ds:schemaRef ds:uri="http://purl.org/dc/elements/1.1/"/>
    <ds:schemaRef ds:uri="6c826b2b-6a5c-40ac-ad63-8cdbe158fcb9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 Master Helsana_DE</Template>
  <TotalTime>0</TotalTime>
  <Words>121</Words>
  <Application>Microsoft Office PowerPoint</Application>
  <PresentationFormat>Bildschirmpräsentation (16:9)</PresentationFormat>
  <Paragraphs>44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4" baseType="lpstr">
      <vt:lpstr>Arial</vt:lpstr>
      <vt:lpstr>StolzlDisplay-Medium</vt:lpstr>
      <vt:lpstr>Tahoma</vt:lpstr>
      <vt:lpstr>Präsentation Helsana_final</vt:lpstr>
      <vt:lpstr>think-cell Folie</vt:lpstr>
      <vt:lpstr>Personalized training recommendations</vt:lpstr>
      <vt:lpstr>PERSONALIZED TRAINING RECOMMENDATIONS</vt:lpstr>
      <vt:lpstr>PERSONALIZED TRAINING RECOMMENDATIONS Health Apps</vt:lpstr>
      <vt:lpstr>PERSONALIZED TRAINING RECOMMENDATIONS</vt:lpstr>
      <vt:lpstr>PERSONALIZED TRAINING RECOMMENDATIONS</vt:lpstr>
      <vt:lpstr>PERSONALIZED TRAINING RECOMMENDATIONS</vt:lpstr>
      <vt:lpstr>PERSONALIZED TRAINING RECOMMENDATIONS</vt:lpstr>
      <vt:lpstr>PERSONALIZED TRAINING RECOMMENDATIONS Data</vt:lpstr>
      <vt:lpstr>PERSONALIZED TRAINING RECOMMENDATIONS Data</vt:lpstr>
    </vt:vector>
  </TitlesOfParts>
  <Company>Helsana Versicherun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#11 ENHANCE DIGITAL SERVICES WITH DATA  </dc:title>
  <dc:creator>Nuhija Arben</dc:creator>
  <cp:lastModifiedBy>Nuhija Arben</cp:lastModifiedBy>
  <cp:revision>61</cp:revision>
  <cp:lastPrinted>2018-09-06T06:44:02Z</cp:lastPrinted>
  <dcterms:created xsi:type="dcterms:W3CDTF">2020-09-07T14:13:22Z</dcterms:created>
  <dcterms:modified xsi:type="dcterms:W3CDTF">2022-03-21T20:4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205858e-9294-46c5-ad97-4b22fdf546f1_Enabled">
    <vt:lpwstr>true</vt:lpwstr>
  </property>
  <property fmtid="{D5CDD505-2E9C-101B-9397-08002B2CF9AE}" pid="3" name="MSIP_Label_0205858e-9294-46c5-ad97-4b22fdf546f1_SetDate">
    <vt:lpwstr>2020-09-07T15:04:30Z</vt:lpwstr>
  </property>
  <property fmtid="{D5CDD505-2E9C-101B-9397-08002B2CF9AE}" pid="4" name="MSIP_Label_0205858e-9294-46c5-ad97-4b22fdf546f1_Method">
    <vt:lpwstr>Standard</vt:lpwstr>
  </property>
  <property fmtid="{D5CDD505-2E9C-101B-9397-08002B2CF9AE}" pid="5" name="MSIP_Label_0205858e-9294-46c5-ad97-4b22fdf546f1_Name">
    <vt:lpwstr>Sensibel (C)</vt:lpwstr>
  </property>
  <property fmtid="{D5CDD505-2E9C-101B-9397-08002B2CF9AE}" pid="6" name="MSIP_Label_0205858e-9294-46c5-ad97-4b22fdf546f1_SiteId">
    <vt:lpwstr>96e5b9ed-5716-4cf3-ac0c-9c12acfa73c3</vt:lpwstr>
  </property>
  <property fmtid="{D5CDD505-2E9C-101B-9397-08002B2CF9AE}" pid="7" name="MSIP_Label_0205858e-9294-46c5-ad97-4b22fdf546f1_ActionId">
    <vt:lpwstr>c295d265-a885-46c7-8550-142b06cc5a82</vt:lpwstr>
  </property>
  <property fmtid="{D5CDD505-2E9C-101B-9397-08002B2CF9AE}" pid="8" name="MSIP_Label_0205858e-9294-46c5-ad97-4b22fdf546f1_ContentBits">
    <vt:lpwstr>0</vt:lpwstr>
  </property>
  <property fmtid="{D5CDD505-2E9C-101B-9397-08002B2CF9AE}" pid="9" name="ContentTypeId">
    <vt:lpwstr>0x010100BBF148648DACDC4996A9051B1C2B963A</vt:lpwstr>
  </property>
</Properties>
</file>